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8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2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2.xml" ContentType="application/vnd.openxmlformats-officedocument.presentationml.notesSlide+xml"/>
  <Override PartName="/ppt/tags/tag29.xml" ContentType="application/vnd.openxmlformats-officedocument.presentationml.tags+xml"/>
  <Override PartName="/ppt/notesSlides/notesSlide2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4.xml" ContentType="application/vnd.openxmlformats-officedocument.presentationml.notesSlide+xml"/>
  <Override PartName="/ppt/tags/tag33.xml" ContentType="application/vnd.openxmlformats-officedocument.presentationml.tags+xml"/>
  <Override PartName="/ppt/notesSlides/notesSlide25.xml" ContentType="application/vnd.openxmlformats-officedocument.presentationml.notesSlide+xml"/>
  <Override PartName="/ppt/tags/tag34.xml" ContentType="application/vnd.openxmlformats-officedocument.presentationml.tags+xml"/>
  <Override PartName="/ppt/notesSlides/notesSlide2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7.xml" ContentType="application/vnd.openxmlformats-officedocument.presentationml.notesSlide+xml"/>
  <Override PartName="/ppt/tags/tag37.xml" ContentType="application/vnd.openxmlformats-officedocument.presentationml.tags+xml"/>
  <Override PartName="/ppt/notesSlides/notesSlide28.xml" ContentType="application/vnd.openxmlformats-officedocument.presentationml.notesSlide+xml"/>
  <Override PartName="/ppt/tags/tag38.xml" ContentType="application/vnd.openxmlformats-officedocument.presentationml.tags+xml"/>
  <Override PartName="/ppt/notesSlides/notesSlide2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9.xml" ContentType="application/vnd.openxmlformats-officedocument.presentationml.tags+xml"/>
  <Override PartName="/ppt/notesSlides/notesSlide30.xml" ContentType="application/vnd.openxmlformats-officedocument.presentationml.notesSlide+xml"/>
  <Override PartName="/ppt/tags/tag40.xml" ContentType="application/vnd.openxmlformats-officedocument.presentationml.tags+xml"/>
  <Override PartName="/ppt/notesSlides/notesSlide31.xml" ContentType="application/vnd.openxmlformats-officedocument.presentationml.notesSlide+xml"/>
  <Override PartName="/ppt/tags/tag41.xml" ContentType="application/vnd.openxmlformats-officedocument.presentationml.tags+xml"/>
  <Override PartName="/ppt/notesSlides/notesSlide3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3.xml" ContentType="application/vnd.openxmlformats-officedocument.presentationml.notesSlide+xml"/>
  <Override PartName="/ppt/tags/tag44.xml" ContentType="application/vnd.openxmlformats-officedocument.presentationml.tags+xml"/>
  <Override PartName="/ppt/notesSlides/notesSlide34.xml" ContentType="application/vnd.openxmlformats-officedocument.presentationml.notesSlide+xml"/>
  <Override PartName="/ppt/tags/tag45.xml" ContentType="application/vnd.openxmlformats-officedocument.presentationml.tags+xml"/>
  <Override PartName="/ppt/notesSlides/notesSlide3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8"/>
    <p:sldMasterId id="2147483674" r:id="rId9"/>
    <p:sldMasterId id="2147483686" r:id="rId10"/>
    <p:sldMasterId id="2147483698" r:id="rId11"/>
    <p:sldMasterId id="2147483711" r:id="rId12"/>
    <p:sldMasterId id="2147483723" r:id="rId13"/>
    <p:sldMasterId id="2147483729" r:id="rId14"/>
  </p:sldMasterIdLst>
  <p:notesMasterIdLst>
    <p:notesMasterId r:id="rId68"/>
  </p:notesMasterIdLst>
  <p:sldIdLst>
    <p:sldId id="256" r:id="rId15"/>
    <p:sldId id="3536" r:id="rId16"/>
    <p:sldId id="3537" r:id="rId17"/>
    <p:sldId id="2147309281" r:id="rId18"/>
    <p:sldId id="906" r:id="rId19"/>
    <p:sldId id="2147309309" r:id="rId20"/>
    <p:sldId id="779" r:id="rId21"/>
    <p:sldId id="2147309279" r:id="rId22"/>
    <p:sldId id="2147309294" r:id="rId23"/>
    <p:sldId id="2147309282" r:id="rId24"/>
    <p:sldId id="2147309288" r:id="rId25"/>
    <p:sldId id="2147309308" r:id="rId26"/>
    <p:sldId id="2147309295" r:id="rId27"/>
    <p:sldId id="2147309315" r:id="rId28"/>
    <p:sldId id="2147309196" r:id="rId29"/>
    <p:sldId id="498" r:id="rId30"/>
    <p:sldId id="536" r:id="rId31"/>
    <p:sldId id="265" r:id="rId32"/>
    <p:sldId id="266" r:id="rId33"/>
    <p:sldId id="268" r:id="rId34"/>
    <p:sldId id="2147309311" r:id="rId35"/>
    <p:sldId id="2147309305" r:id="rId36"/>
    <p:sldId id="2147309307" r:id="rId37"/>
    <p:sldId id="2147309300" r:id="rId38"/>
    <p:sldId id="354" r:id="rId39"/>
    <p:sldId id="257" r:id="rId40"/>
    <p:sldId id="2147309290" r:id="rId41"/>
    <p:sldId id="2147309303" r:id="rId42"/>
    <p:sldId id="258" r:id="rId43"/>
    <p:sldId id="352" r:id="rId44"/>
    <p:sldId id="2147309291" r:id="rId45"/>
    <p:sldId id="267" r:id="rId46"/>
    <p:sldId id="2147309292" r:id="rId47"/>
    <p:sldId id="355" r:id="rId48"/>
    <p:sldId id="2147309304" r:id="rId49"/>
    <p:sldId id="2147309299" r:id="rId50"/>
    <p:sldId id="366" r:id="rId51"/>
    <p:sldId id="371" r:id="rId52"/>
    <p:sldId id="2147309298" r:id="rId53"/>
    <p:sldId id="2147309285" r:id="rId54"/>
    <p:sldId id="2147309284" r:id="rId55"/>
    <p:sldId id="2147309302" r:id="rId56"/>
    <p:sldId id="2147309297" r:id="rId57"/>
    <p:sldId id="375" r:id="rId58"/>
    <p:sldId id="2147309313" r:id="rId59"/>
    <p:sldId id="2147309314" r:id="rId60"/>
    <p:sldId id="2147309306" r:id="rId61"/>
    <p:sldId id="374" r:id="rId62"/>
    <p:sldId id="2147309179" r:id="rId63"/>
    <p:sldId id="2147309296" r:id="rId64"/>
    <p:sldId id="2147309177" r:id="rId65"/>
    <p:sldId id="667" r:id="rId66"/>
    <p:sldId id="370" r:id="rId67"/>
  </p:sldIdLst>
  <p:sldSz cx="9144000" cy="5143500" type="screen16x9"/>
  <p:notesSz cx="6858000" cy="9144000"/>
  <p:custDataLst>
    <p:tags r:id="rId69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0C4A53-7441-406F-BA9C-A7A7CBF0F43F}">
          <p14:sldIdLst>
            <p14:sldId id="256"/>
            <p14:sldId id="3536"/>
            <p14:sldId id="3537"/>
          </p14:sldIdLst>
        </p14:section>
        <p14:section name="Oppsummering fra E-læring" id="{5AA63AD1-4CD3-4BBE-A43C-AE68C074033B}">
          <p14:sldIdLst>
            <p14:sldId id="2147309281"/>
            <p14:sldId id="906"/>
            <p14:sldId id="2147309309"/>
            <p14:sldId id="779"/>
            <p14:sldId id="2147309279"/>
          </p14:sldIdLst>
        </p14:section>
        <p14:section name="Hovedendringer" id="{647DD0DF-BFE3-45C0-A3BE-D7A8F737A85D}">
          <p14:sldIdLst>
            <p14:sldId id="2147309294"/>
            <p14:sldId id="2147309282"/>
            <p14:sldId id="2147309288"/>
            <p14:sldId id="2147309308"/>
          </p14:sldIdLst>
        </p14:section>
        <p14:section name="Om ny økonomimodell" id="{CD0F8225-DE30-4470-BF18-AF7B17A311C3}">
          <p14:sldIdLst>
            <p14:sldId id="2147309295"/>
            <p14:sldId id="2147309315"/>
            <p14:sldId id="2147309196"/>
            <p14:sldId id="498"/>
            <p14:sldId id="536"/>
            <p14:sldId id="265"/>
            <p14:sldId id="266"/>
            <p14:sldId id="268"/>
            <p14:sldId id="2147309311"/>
            <p14:sldId id="2147309305"/>
            <p14:sldId id="2147309307"/>
          </p14:sldIdLst>
        </p14:section>
        <p14:section name="Mer om mva" id="{45C52DBD-AA05-485F-8715-2324D128F83D}">
          <p14:sldIdLst>
            <p14:sldId id="2147309300"/>
            <p14:sldId id="354"/>
            <p14:sldId id="257"/>
            <p14:sldId id="2147309290"/>
            <p14:sldId id="2147309303"/>
            <p14:sldId id="258"/>
            <p14:sldId id="352"/>
            <p14:sldId id="2147309291"/>
            <p14:sldId id="267"/>
            <p14:sldId id="2147309292"/>
            <p14:sldId id="355"/>
            <p14:sldId id="2147309304"/>
          </p14:sldIdLst>
        </p14:section>
        <p14:section name="Nye begreper" id="{5BAEE10F-10B2-48FA-86CB-CA001A24E03A}">
          <p14:sldIdLst>
            <p14:sldId id="2147309299"/>
            <p14:sldId id="366"/>
            <p14:sldId id="371"/>
          </p14:sldIdLst>
        </p14:section>
        <p14:section name="Kort demo" id="{4FE12F6D-3905-4B62-B46D-C482B5B2D15C}">
          <p14:sldIdLst>
            <p14:sldId id="2147309298"/>
            <p14:sldId id="2147309285"/>
            <p14:sldId id="2147309284"/>
            <p14:sldId id="2147309302"/>
          </p14:sldIdLst>
        </p14:section>
        <p14:section name="Hva skjer videre" id="{86DB92A1-4614-491C-A7B5-AC59F68E5BA6}">
          <p14:sldIdLst>
            <p14:sldId id="2147309297"/>
            <p14:sldId id="375"/>
          </p14:sldIdLst>
        </p14:section>
        <p14:section name="Opplæring" id="{3D2BF11A-BD61-4245-B0CC-F6B1CE4645A8}">
          <p14:sldIdLst>
            <p14:sldId id="2147309313"/>
            <p14:sldId id="2147309314"/>
            <p14:sldId id="2147309306"/>
            <p14:sldId id="374"/>
            <p14:sldId id="2147309179"/>
            <p14:sldId id="2147309296"/>
            <p14:sldId id="2147309177"/>
          </p14:sldIdLst>
        </p14:section>
        <p14:section name="Spørsmål og svar" id="{1F948066-CF5D-4518-B4CC-2999FD24F3E1}">
          <p14:sldIdLst>
            <p14:sldId id="667"/>
            <p14:sldId id="3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FC4E52-EE62-A9E2-A511-E4ECB00DCE4C}" name="Kristin Kårøy Overvik" initials="KO" userId="S::kristo@ntnu.no::9f32c53a-86e1-4034-b7b9-1fcc4812f6dd" providerId="AD"/>
  <p188:author id="{023C9081-BD43-83DB-54A6-F1EB40916C41}" name="Maren Ellingsberg" initials="ME" userId="S::ellingsb@ntnu.no::2302c544-4afb-4231-9f9f-1b21d535bee9" providerId="AD"/>
  <p188:author id="{BD64E2F5-DE5F-9D2F-522B-67584DCD03ED}" name="Christina Horvei" initials="CH" userId="S::chrihorv@ntnu.no::a883ca73-a3a6-4204-991d-57d11551949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e, Harald" initials="LH" lastIdx="3" clrIdx="0">
    <p:extLst>
      <p:ext uri="{19B8F6BF-5375-455C-9EA6-DF929625EA0E}">
        <p15:presenceInfo xmlns:p15="http://schemas.microsoft.com/office/powerpoint/2012/main" userId="S::hlie@deloitte.no::6eaf4526-8e81-4b3d-ba16-767687c218e8" providerId="AD"/>
      </p:ext>
    </p:extLst>
  </p:cmAuthor>
  <p:cmAuthor id="2" name="Tor Prestegard" initials="TP" lastIdx="1" clrIdx="1">
    <p:extLst>
      <p:ext uri="{19B8F6BF-5375-455C-9EA6-DF929625EA0E}">
        <p15:presenceInfo xmlns:p15="http://schemas.microsoft.com/office/powerpoint/2012/main" userId="S::torpr@ntnu.no::70b1b567-2bf3-47e4-af3f-844159642694" providerId="AD"/>
      </p:ext>
    </p:extLst>
  </p:cmAuthor>
  <p:cmAuthor id="3" name="Lie, Harald" initials="LH [2]" lastIdx="1" clrIdx="2">
    <p:extLst>
      <p:ext uri="{19B8F6BF-5375-455C-9EA6-DF929625EA0E}">
        <p15:presenceInfo xmlns:p15="http://schemas.microsoft.com/office/powerpoint/2012/main" userId="S::hlie_deloitte.no#ext#@studntnu.onmicrosoft.com::4515d6bf-9a89-4ec2-90d8-a40f6b68936c" providerId="AD"/>
      </p:ext>
    </p:extLst>
  </p:cmAuthor>
  <p:cmAuthor id="4" name="Gry-Lene Johansen" initials="GJ" lastIdx="5" clrIdx="3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  <p:cmAuthor id="5" name="Horvei, Christina" initials="HC" lastIdx="10" clrIdx="4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4694"/>
    <a:srgbClr val="FFCCCC"/>
    <a:srgbClr val="32756D"/>
    <a:srgbClr val="0D3475"/>
    <a:srgbClr val="8D9C1B"/>
    <a:srgbClr val="C7B98A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FE4ADB-340C-4B1B-94EF-5113F6D06F29}" v="22" dt="2022-12-05T13:16:58.358"/>
    <p1510:client id="{08B90409-0D89-4111-97E4-D01FB1AFEC93}" v="782" dt="2022-12-05T07:28:17.491"/>
    <p1510:client id="{10E40DF9-1F89-46D5-AF08-72065B135E28}" v="2" vWet="4" dt="2022-12-05T07:21:50.836"/>
    <p1510:client id="{5B2B7930-697F-DBA3-3EF3-73A6D0DB27AE}" v="11" dt="2022-12-04T20:21:45.417"/>
    <p1510:client id="{7C5E5E7D-D16D-4E89-A03B-E6C8D47E77E8}" v="89" dt="2022-12-05T07:51:35.5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6" d="100"/>
          <a:sy n="76" d="100"/>
        </p:scale>
        <p:origin x="7974" y="267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6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63" Type="http://schemas.openxmlformats.org/officeDocument/2006/relationships/slide" Target="slides/slide49.xml"/><Relationship Id="rId68" Type="http://schemas.openxmlformats.org/officeDocument/2006/relationships/notesMaster" Target="notesMasters/notesMaster1.xml"/><Relationship Id="rId76" Type="http://schemas.microsoft.com/office/2018/10/relationships/authors" Target="authors.xml"/><Relationship Id="rId7" Type="http://schemas.openxmlformats.org/officeDocument/2006/relationships/customXml" Target="../customXml/item7.xml"/><Relationship Id="rId71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slide" Target="slides/slide52.xml"/><Relationship Id="rId7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61" Type="http://schemas.openxmlformats.org/officeDocument/2006/relationships/slide" Target="slides/slide47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73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Master" Target="slideMasters/slideMaster7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tags" Target="tags/tag1.xml"/><Relationship Id="rId8" Type="http://schemas.openxmlformats.org/officeDocument/2006/relationships/slideMaster" Target="slideMasters/slideMaster1.xml"/><Relationship Id="rId51" Type="http://schemas.openxmlformats.org/officeDocument/2006/relationships/slide" Target="slides/slide37.xml"/><Relationship Id="rId72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slide" Target="slides/slide53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commentAuthors" Target="commentAuthors.xml"/><Relationship Id="rId75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04D0A6-1A3B-42FB-A69E-8963AE4F499F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A0D536EA-FCA4-4D02-B69F-F5A7FC700069}">
      <dgm:prSet phldrT="[Text]"/>
      <dgm:spPr>
        <a:xfrm>
          <a:off x="3610" y="2587889"/>
          <a:ext cx="1700482" cy="850241"/>
        </a:xfrm>
        <a:prstGeom prst="roundRect">
          <a:avLst>
            <a:gd name="adj" fmla="val 10000"/>
          </a:avLst>
        </a:prstGeom>
        <a:solidFill>
          <a:srgbClr val="E7E6E6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Norge</a:t>
          </a:r>
        </a:p>
      </dgm:t>
    </dgm:pt>
    <dgm:pt modelId="{37159368-7558-4D0F-A132-905783D58D12}" type="parTrans" cxnId="{44712C33-E542-41E8-9847-0704425EEFC5}">
      <dgm:prSet/>
      <dgm:spPr/>
      <dgm:t>
        <a:bodyPr/>
        <a:lstStyle/>
        <a:p>
          <a:endParaRPr lang="en-US"/>
        </a:p>
      </dgm:t>
    </dgm:pt>
    <dgm:pt modelId="{649AB15E-AD08-47BD-9ECA-D5419AA8F8E7}" type="sibTrans" cxnId="{44712C33-E542-41E8-9847-0704425EEFC5}">
      <dgm:prSet/>
      <dgm:spPr/>
      <dgm:t>
        <a:bodyPr/>
        <a:lstStyle/>
        <a:p>
          <a:endParaRPr lang="en-US"/>
        </a:p>
      </dgm:t>
    </dgm:pt>
    <dgm:pt modelId="{E527F988-260F-4D3E-9B7D-99895090B59C}">
      <dgm:prSet phldrT="[Text]"/>
      <dgm:spPr>
        <a:xfrm>
          <a:off x="4772648" y="485617"/>
          <a:ext cx="1700482" cy="850241"/>
        </a:xfrm>
        <a:solidFill>
          <a:srgbClr val="E6ECFF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BDE809B0-70AC-4BFC-8CAB-586FB741C3F8}" type="parTrans" cxnId="{E8D366CC-5C2A-463A-9041-841E10E5F4A8}">
      <dgm:prSet/>
      <dgm:spPr>
        <a:xfrm rot="18267754">
          <a:off x="3820899" y="1397416"/>
          <a:ext cx="1215618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E3502A46-028E-4A0D-BC02-7C21BC2F86F5}" type="sibTrans" cxnId="{E8D366CC-5C2A-463A-9041-841E10E5F4A8}">
      <dgm:prSet/>
      <dgm:spPr/>
      <dgm:t>
        <a:bodyPr/>
        <a:lstStyle/>
        <a:p>
          <a:endParaRPr lang="en-US"/>
        </a:p>
      </dgm:t>
    </dgm:pt>
    <dgm:pt modelId="{B2FF7F00-EA45-4EE6-89D7-380CF5E6B833}">
      <dgm:prSet phldrT="[Text]"/>
      <dgm:spPr>
        <a:xfrm>
          <a:off x="4772648" y="1691021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508F0CC1-6B0D-475C-8038-BE5018FD719C}" type="parTrans" cxnId="{593714B7-FA69-4513-B4C2-FA54B3D93BDA}">
      <dgm:prSet custT="1"/>
      <dgm:spPr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</a:sysClr>
          </a:solidFill>
          <a:prstDash val="solid"/>
          <a:round/>
        </a:ln>
        <a:effectLst/>
      </dgm:spPr>
      <dgm:t>
        <a:bodyPr spcFirstLastPara="0" vert="horz" wrap="square" lIns="12700" tIns="0" rIns="12700" bIns="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F013F887-1EFD-44ED-B359-F8CEEEA1A61F}" type="sibTrans" cxnId="{593714B7-FA69-4513-B4C2-FA54B3D93BDA}">
      <dgm:prSet/>
      <dgm:spPr/>
      <dgm:t>
        <a:bodyPr/>
        <a:lstStyle/>
        <a:p>
          <a:endParaRPr lang="en-US"/>
        </a:p>
      </dgm:t>
    </dgm:pt>
    <dgm:pt modelId="{86209361-DAEF-409C-B9C3-11C70C948D08}">
      <dgm:prSet phldrT="[Text]"/>
      <dgm:spPr>
        <a:xfrm>
          <a:off x="7071309" y="43330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MVA</a:t>
          </a:r>
        </a:p>
      </dgm:t>
    </dgm:pt>
    <dgm:pt modelId="{C1EB25B0-C434-41E8-BFF3-BA9C82948CDB}" type="parTrans" cxnId="{4C76A7B3-5E0D-41EE-A682-651DD6EB2CE0}">
      <dgm:prSet/>
      <dgm:spPr>
        <a:xfrm rot="19411270">
          <a:off x="6400254" y="675136"/>
          <a:ext cx="743932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9F94CF4A-AF96-4B57-9F3F-079EFC94154E}" type="sibTrans" cxnId="{4C76A7B3-5E0D-41EE-A682-651DD6EB2CE0}">
      <dgm:prSet/>
      <dgm:spPr/>
      <dgm:t>
        <a:bodyPr/>
        <a:lstStyle/>
        <a:p>
          <a:endParaRPr lang="en-US"/>
        </a:p>
      </dgm:t>
    </dgm:pt>
    <dgm:pt modelId="{BCB54F11-E6C0-4C2D-96CA-42EB992D02C6}">
      <dgm:prSet phldrT="[Text]"/>
      <dgm:spPr>
        <a:xfrm>
          <a:off x="2384286" y="1487890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3171C63B-07FF-4437-B14F-142ED5A8A4C7}" type="sibTrans" cxnId="{4D84010F-BAB5-42CC-BD99-1DDD4FEF3369}">
      <dgm:prSet/>
      <dgm:spPr/>
      <dgm:t>
        <a:bodyPr/>
        <a:lstStyle/>
        <a:p>
          <a:endParaRPr lang="en-US"/>
        </a:p>
      </dgm:t>
    </dgm:pt>
    <dgm:pt modelId="{E093BDD2-87E5-4048-8CBB-5A7DDB90E422}" type="parTrans" cxnId="{4D84010F-BAB5-42CC-BD99-1DDD4FEF3369}">
      <dgm:prSet/>
      <dgm:spPr>
        <a:xfrm rot="18103853">
          <a:off x="1397532" y="2448552"/>
          <a:ext cx="1293314" cy="28916"/>
        </a:xfrm>
        <a:noFill/>
        <a:ln w="127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20E21E3E-A841-4758-8DDA-E8E3F7D9552A}">
      <dgm:prSet phldrT="[Text]"/>
      <dgm:spPr>
        <a:xfrm>
          <a:off x="4772648" y="1691021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25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1 = 15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2 = 12%</a:t>
          </a:r>
        </a:p>
      </dgm:t>
    </dgm:pt>
    <dgm:pt modelId="{51101805-D104-40D9-A505-FC8C5699EB55}" type="parTrans" cxnId="{C4C1E841-A0BA-408E-8BBD-D4173BED8814}">
      <dgm:prSet/>
      <dgm:spPr>
        <a:ln w="12700"/>
      </dgm:spPr>
      <dgm:t>
        <a:bodyPr/>
        <a:lstStyle/>
        <a:p>
          <a:endParaRPr lang="nb-NO"/>
        </a:p>
      </dgm:t>
    </dgm:pt>
    <dgm:pt modelId="{8DAA2DD2-412C-4328-BBB6-A4AD04F4DD83}" type="sibTrans" cxnId="{C4C1E841-A0BA-408E-8BBD-D4173BED8814}">
      <dgm:prSet/>
      <dgm:spPr/>
      <dgm:t>
        <a:bodyPr/>
        <a:lstStyle/>
        <a:p>
          <a:endParaRPr lang="nb-NO"/>
        </a:p>
      </dgm:t>
    </dgm:pt>
    <dgm:pt modelId="{24EEC066-2A0A-4537-941F-9A0621956B49}">
      <dgm:prSet phldrT="[Text]"/>
      <dgm:spPr>
        <a:xfrm>
          <a:off x="7071309" y="1138985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MVA</a:t>
          </a:r>
        </a:p>
      </dgm:t>
    </dgm:pt>
    <dgm:pt modelId="{DC6411BD-2E51-41F8-B18B-C846C02A4771}" type="parTrans" cxnId="{A7FC6C64-44A7-4E12-90F7-C2D17991F1F5}">
      <dgm:prSet/>
      <dgm:spPr>
        <a:ln w="12700"/>
      </dgm:spPr>
      <dgm:t>
        <a:bodyPr/>
        <a:lstStyle/>
        <a:p>
          <a:endParaRPr lang="nb-NO"/>
        </a:p>
      </dgm:t>
    </dgm:pt>
    <dgm:pt modelId="{24E8AC2C-81B9-460C-909D-E2F2C7BEA7F4}" type="sibTrans" cxnId="{A7FC6C64-44A7-4E12-90F7-C2D17991F1F5}">
      <dgm:prSet/>
      <dgm:spPr/>
      <dgm:t>
        <a:bodyPr/>
        <a:lstStyle/>
        <a:p>
          <a:endParaRPr lang="nb-NO"/>
        </a:p>
      </dgm:t>
    </dgm:pt>
    <dgm:pt modelId="{9515CE4E-7444-40EB-93A4-CDE98862AC6A}">
      <dgm:prSet phldrT="[Text]"/>
      <dgm:spPr>
        <a:xfrm>
          <a:off x="9529924" y="1430983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 =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g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avgift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C9BD3022-12DF-4C70-8E59-09FFEE9E4FDF}" type="parTrans" cxnId="{7214EC45-A706-4341-8336-E3657E2C2419}">
      <dgm:prSet/>
      <dgm:spPr>
        <a:ln w="12700"/>
      </dgm:spPr>
      <dgm:t>
        <a:bodyPr/>
        <a:lstStyle/>
        <a:p>
          <a:endParaRPr lang="nb-NO"/>
        </a:p>
      </dgm:t>
    </dgm:pt>
    <dgm:pt modelId="{5D4110DA-07BA-4F3D-AFD5-8998664855EE}" type="sibTrans" cxnId="{7214EC45-A706-4341-8336-E3657E2C2419}">
      <dgm:prSet/>
      <dgm:spPr/>
      <dgm:t>
        <a:bodyPr/>
        <a:lstStyle/>
        <a:p>
          <a:endParaRPr lang="nb-NO"/>
        </a:p>
      </dgm:t>
    </dgm:pt>
    <dgm:pt modelId="{A753D3EE-876E-4DCA-8335-F51286301122}">
      <dgm:prSet phldrT="[Text]"/>
      <dgm:spPr>
        <a:xfrm>
          <a:off x="9529924" y="0"/>
          <a:ext cx="1700482" cy="850241"/>
        </a:xfr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1 =25 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2 =15 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3 =12 %</a:t>
          </a:r>
        </a:p>
      </dgm:t>
    </dgm:pt>
    <dgm:pt modelId="{02BF3BD8-BDDF-42AE-A1FF-C85D257D4FEC}" type="sibTrans" cxnId="{972979B6-CC79-4EEA-BC52-9BEC8794E4D5}">
      <dgm:prSet/>
      <dgm:spPr/>
      <dgm:t>
        <a:bodyPr/>
        <a:lstStyle/>
        <a:p>
          <a:endParaRPr lang="en-US"/>
        </a:p>
      </dgm:t>
    </dgm:pt>
    <dgm:pt modelId="{763E9E80-693A-4235-87E4-A5AF017B577A}" type="parTrans" cxnId="{972979B6-CC79-4EEA-BC52-9BEC8794E4D5}">
      <dgm:prSet/>
      <dgm:spPr>
        <a:xfrm rot="21403734">
          <a:off x="8771174" y="432327"/>
          <a:ext cx="759368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F2E891F4-E21F-4B33-8DA6-C688BB7BCDF1}">
      <dgm:prSet phldrT="[Text]"/>
      <dgm:spPr>
        <a:xfrm>
          <a:off x="4772648" y="1691021"/>
          <a:ext cx="1700482" cy="850241"/>
        </a:xfr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579E95F2-699E-4DF4-ABDB-69F40A4D0FA7}" type="parTrans" cxnId="{93DB88BF-3F47-4FF0-91AC-CC2A36EECF21}">
      <dgm:prSet/>
      <dgm:spPr>
        <a:ln w="12700"/>
      </dgm:spPr>
      <dgm:t>
        <a:bodyPr/>
        <a:lstStyle/>
        <a:p>
          <a:endParaRPr lang="nb-NO"/>
        </a:p>
      </dgm:t>
    </dgm:pt>
    <dgm:pt modelId="{4D50CBFD-DAAC-45FD-8220-F7132C6B2818}" type="sibTrans" cxnId="{93DB88BF-3F47-4FF0-91AC-CC2A36EECF21}">
      <dgm:prSet/>
      <dgm:spPr/>
      <dgm:t>
        <a:bodyPr/>
        <a:lstStyle/>
        <a:p>
          <a:endParaRPr lang="nb-NO"/>
        </a:p>
      </dgm:t>
    </dgm:pt>
    <dgm:pt modelId="{EC6D79AC-9674-4E1E-9127-D8464F99866F}">
      <dgm:prSet phldrT="[Text]"/>
      <dgm:spPr>
        <a:xfrm>
          <a:off x="4772648" y="1691021"/>
          <a:ext cx="1700482" cy="850241"/>
        </a:xfr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6B0EE9CD-2E95-43B5-BE66-F30E0DE245CD}" type="parTrans" cxnId="{E8C9EE92-D398-488A-9A59-85D936AEFDF3}">
      <dgm:prSet/>
      <dgm:spPr>
        <a:ln w="12700"/>
      </dgm:spPr>
      <dgm:t>
        <a:bodyPr/>
        <a:lstStyle/>
        <a:p>
          <a:endParaRPr lang="nb-NO"/>
        </a:p>
      </dgm:t>
    </dgm:pt>
    <dgm:pt modelId="{76C5F491-7509-4CB5-8A73-22CED7FBB6F9}" type="sibTrans" cxnId="{E8C9EE92-D398-488A-9A59-85D936AEFDF3}">
      <dgm:prSet/>
      <dgm:spPr/>
      <dgm:t>
        <a:bodyPr/>
        <a:lstStyle/>
        <a:p>
          <a:endParaRPr lang="nb-NO"/>
        </a:p>
      </dgm:t>
    </dgm:pt>
    <dgm:pt modelId="{FB66839C-B554-45FE-BAEE-352410A4C12D}">
      <dgm:prSet phldrT="[Text]"/>
      <dgm:spPr>
        <a:xfrm>
          <a:off x="4772648" y="1691021"/>
          <a:ext cx="1700482" cy="850241"/>
        </a:xfr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5398DBD6-1A2B-4A83-A486-BA8B545F3E03}" type="parTrans" cxnId="{21E51FB0-3E45-4F25-A080-75D26FD7DDEA}">
      <dgm:prSet/>
      <dgm:spPr>
        <a:ln w="12700"/>
      </dgm:spPr>
      <dgm:t>
        <a:bodyPr/>
        <a:lstStyle/>
        <a:p>
          <a:endParaRPr lang="nb-NO"/>
        </a:p>
      </dgm:t>
    </dgm:pt>
    <dgm:pt modelId="{5B5C86DE-FDDB-41DD-8E48-79F590579DDC}" type="sibTrans" cxnId="{21E51FB0-3E45-4F25-A080-75D26FD7DDEA}">
      <dgm:prSet/>
      <dgm:spPr/>
      <dgm:t>
        <a:bodyPr/>
        <a:lstStyle/>
        <a:p>
          <a:endParaRPr lang="nb-NO"/>
        </a:p>
      </dgm:t>
    </dgm:pt>
    <dgm:pt modelId="{2BBF0687-B095-4F0A-A1BE-09C5936255FC}">
      <dgm:prSet phldrT="[Text]"/>
      <dgm:spPr>
        <a:xfrm>
          <a:off x="4772648" y="1691021"/>
          <a:ext cx="1700482" cy="850241"/>
        </a:xfr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0 =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ansett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ats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(%)</a:t>
          </a:r>
        </a:p>
      </dgm:t>
    </dgm:pt>
    <dgm:pt modelId="{77EFAE13-B4AC-442C-89FF-61F9237F9526}" type="parTrans" cxnId="{ACF4008B-B60B-43F1-80C2-8AFB0022F2FA}">
      <dgm:prSet/>
      <dgm:spPr>
        <a:ln w="12700"/>
      </dgm:spPr>
      <dgm:t>
        <a:bodyPr/>
        <a:lstStyle/>
        <a:p>
          <a:endParaRPr lang="nb-NO"/>
        </a:p>
      </dgm:t>
    </dgm:pt>
    <dgm:pt modelId="{F0791A44-A963-4E97-9D5C-C0A98E53E609}" type="sibTrans" cxnId="{ACF4008B-B60B-43F1-80C2-8AFB0022F2FA}">
      <dgm:prSet/>
      <dgm:spPr/>
      <dgm:t>
        <a:bodyPr/>
        <a:lstStyle/>
        <a:p>
          <a:endParaRPr lang="nb-NO"/>
        </a:p>
      </dgm:t>
    </dgm:pt>
    <dgm:pt modelId="{B73B9113-27D1-4E4E-87D1-57BE3028916C}">
      <dgm:prSet phldrT="[Text]"/>
      <dgm:spPr>
        <a:xfrm>
          <a:off x="4772648" y="1691021"/>
          <a:ext cx="1700482" cy="850241"/>
        </a:xfr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 = 25%</a:t>
          </a:r>
          <a:b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M = 15%</a:t>
          </a:r>
          <a:b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12%</a:t>
          </a:r>
        </a:p>
      </dgm:t>
    </dgm:pt>
    <dgm:pt modelId="{BA1E47FE-BE74-4B2C-8383-84C31F0201A4}" type="parTrans" cxnId="{061A43C6-2E7E-478D-BBAF-E3106BD86CC2}">
      <dgm:prSet/>
      <dgm:spPr>
        <a:ln w="12700"/>
      </dgm:spPr>
      <dgm:t>
        <a:bodyPr/>
        <a:lstStyle/>
        <a:p>
          <a:endParaRPr lang="nb-NO"/>
        </a:p>
      </dgm:t>
    </dgm:pt>
    <dgm:pt modelId="{1A686656-1927-4A74-918E-AD23C71C2B32}" type="sibTrans" cxnId="{061A43C6-2E7E-478D-BBAF-E3106BD86CC2}">
      <dgm:prSet/>
      <dgm:spPr/>
      <dgm:t>
        <a:bodyPr/>
        <a:lstStyle/>
        <a:p>
          <a:endParaRPr lang="nb-NO"/>
        </a:p>
      </dgm:t>
    </dgm:pt>
    <dgm:pt modelId="{E4FA29CC-0A41-474F-ACF4-D5BBDAEE26C9}" type="pres">
      <dgm:prSet presAssocID="{5B04D0A6-1A3B-42FB-A69E-8963AE4F499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9449B6B0-6515-4A7E-AB61-3BE6DECB7B22}" type="pres">
      <dgm:prSet presAssocID="{A0D536EA-FCA4-4D02-B69F-F5A7FC700069}" presName="root1" presStyleCnt="0"/>
      <dgm:spPr/>
    </dgm:pt>
    <dgm:pt modelId="{49F26713-7102-4DBA-975A-66261E72AAEA}" type="pres">
      <dgm:prSet presAssocID="{A0D536EA-FCA4-4D02-B69F-F5A7FC700069}" presName="LevelOneTextNode" presStyleLbl="node0" presStyleIdx="0" presStyleCnt="1" custLinFactNeighborX="-583" custLinFactNeighborY="563">
        <dgm:presLayoutVars>
          <dgm:chPref val="3"/>
        </dgm:presLayoutVars>
      </dgm:prSet>
      <dgm:spPr/>
    </dgm:pt>
    <dgm:pt modelId="{91A61326-9538-492A-9AC2-BD3DD0E188B9}" type="pres">
      <dgm:prSet presAssocID="{A0D536EA-FCA4-4D02-B69F-F5A7FC700069}" presName="level2hierChild" presStyleCnt="0"/>
      <dgm:spPr/>
    </dgm:pt>
    <dgm:pt modelId="{18AAF45A-A872-4892-BC2E-4A48F7461E51}" type="pres">
      <dgm:prSet presAssocID="{E093BDD2-87E5-4048-8CBB-5A7DDB90E422}" presName="conn2-1" presStyleLbl="parChTrans1D2" presStyleIdx="0" presStyleCnt="2"/>
      <dgm:spPr/>
    </dgm:pt>
    <dgm:pt modelId="{D696AC80-0CCD-4AF0-81E2-A5D510496D9C}" type="pres">
      <dgm:prSet presAssocID="{E093BDD2-87E5-4048-8CBB-5A7DDB90E422}" presName="connTx" presStyleLbl="parChTrans1D2" presStyleIdx="0" presStyleCnt="2"/>
      <dgm:spPr/>
    </dgm:pt>
    <dgm:pt modelId="{9CB454F5-BA89-407E-97EA-400DA5C9F7B6}" type="pres">
      <dgm:prSet presAssocID="{BCB54F11-E6C0-4C2D-96CA-42EB992D02C6}" presName="root2" presStyleCnt="0"/>
      <dgm:spPr/>
    </dgm:pt>
    <dgm:pt modelId="{D9079FC4-084B-417F-9031-4C416C90D2F1}" type="pres">
      <dgm:prSet presAssocID="{BCB54F11-E6C0-4C2D-96CA-42EB992D02C6}" presName="LevelTwoTextNode" presStyleLbl="node2" presStyleIdx="0" presStyleCnt="2">
        <dgm:presLayoutVars>
          <dgm:chPref val="3"/>
        </dgm:presLayoutVars>
      </dgm:prSet>
      <dgm:spPr/>
    </dgm:pt>
    <dgm:pt modelId="{971AB681-BD7C-4291-AE02-11967217D969}" type="pres">
      <dgm:prSet presAssocID="{BCB54F11-E6C0-4C2D-96CA-42EB992D02C6}" presName="level3hierChild" presStyleCnt="0"/>
      <dgm:spPr/>
    </dgm:pt>
    <dgm:pt modelId="{A49805BE-C9B6-4B1D-844D-DAF0B1AD8566}" type="pres">
      <dgm:prSet presAssocID="{BDE809B0-70AC-4BFC-8CAB-586FB741C3F8}" presName="conn2-1" presStyleLbl="parChTrans1D3" presStyleIdx="0" presStyleCnt="4"/>
      <dgm:spPr/>
    </dgm:pt>
    <dgm:pt modelId="{E4D2591A-80D1-4F5F-ABDB-EB62F22AD203}" type="pres">
      <dgm:prSet presAssocID="{BDE809B0-70AC-4BFC-8CAB-586FB741C3F8}" presName="connTx" presStyleLbl="parChTrans1D3" presStyleIdx="0" presStyleCnt="4"/>
      <dgm:spPr/>
    </dgm:pt>
    <dgm:pt modelId="{D53ED68E-806E-4FB9-9173-A41F08989C30}" type="pres">
      <dgm:prSet presAssocID="{E527F988-260F-4D3E-9B7D-99895090B59C}" presName="root2" presStyleCnt="0"/>
      <dgm:spPr/>
    </dgm:pt>
    <dgm:pt modelId="{8969B42D-6BC3-4B8A-936A-5F8A3F47BE5B}" type="pres">
      <dgm:prSet presAssocID="{E527F988-260F-4D3E-9B7D-99895090B59C}" presName="LevelTwoTextNode" presStyleLbl="node3" presStyleIdx="0" presStyleCnt="4">
        <dgm:presLayoutVars>
          <dgm:chPref val="3"/>
        </dgm:presLayoutVars>
      </dgm:prSet>
      <dgm:spPr/>
    </dgm:pt>
    <dgm:pt modelId="{8922CAB1-D6C5-4A28-9B75-A626E65EF6D9}" type="pres">
      <dgm:prSet presAssocID="{E527F988-260F-4D3E-9B7D-99895090B59C}" presName="level3hierChild" presStyleCnt="0"/>
      <dgm:spPr/>
    </dgm:pt>
    <dgm:pt modelId="{3BECF918-4C3C-43E0-BF8A-E565DB2BF452}" type="pres">
      <dgm:prSet presAssocID="{C1EB25B0-C434-41E8-BFF3-BA9C82948CDB}" presName="conn2-1" presStyleLbl="parChTrans1D4" presStyleIdx="0" presStyleCnt="7"/>
      <dgm:spPr/>
    </dgm:pt>
    <dgm:pt modelId="{F42279E6-F0AF-42CD-B05C-E5BBB0D238BC}" type="pres">
      <dgm:prSet presAssocID="{C1EB25B0-C434-41E8-BFF3-BA9C82948CDB}" presName="connTx" presStyleLbl="parChTrans1D4" presStyleIdx="0" presStyleCnt="7"/>
      <dgm:spPr/>
    </dgm:pt>
    <dgm:pt modelId="{16EB2D57-0F0A-421A-8B57-8F73B17CF7B5}" type="pres">
      <dgm:prSet presAssocID="{86209361-DAEF-409C-B9C3-11C70C948D08}" presName="root2" presStyleCnt="0"/>
      <dgm:spPr/>
    </dgm:pt>
    <dgm:pt modelId="{FE716DB4-7587-49B7-809D-5F1386BB1CD6}" type="pres">
      <dgm:prSet presAssocID="{86209361-DAEF-409C-B9C3-11C70C948D08}" presName="LevelTwoTextNode" presStyleLbl="node4" presStyleIdx="0" presStyleCnt="7">
        <dgm:presLayoutVars>
          <dgm:chPref val="3"/>
        </dgm:presLayoutVars>
      </dgm:prSet>
      <dgm:spPr/>
    </dgm:pt>
    <dgm:pt modelId="{D3DE2682-A1D2-4AE1-AC6B-8F1CA760A1B5}" type="pres">
      <dgm:prSet presAssocID="{86209361-DAEF-409C-B9C3-11C70C948D08}" presName="level3hierChild" presStyleCnt="0"/>
      <dgm:spPr/>
    </dgm:pt>
    <dgm:pt modelId="{3B9B0C84-CA2A-4B43-8B9F-23E48F48F101}" type="pres">
      <dgm:prSet presAssocID="{763E9E80-693A-4235-87E4-A5AF017B577A}" presName="conn2-1" presStyleLbl="parChTrans1D4" presStyleIdx="1" presStyleCnt="7"/>
      <dgm:spPr/>
    </dgm:pt>
    <dgm:pt modelId="{FEFB87AA-B9A6-44B1-AEC9-3771863FB7A4}" type="pres">
      <dgm:prSet presAssocID="{763E9E80-693A-4235-87E4-A5AF017B577A}" presName="connTx" presStyleLbl="parChTrans1D4" presStyleIdx="1" presStyleCnt="7"/>
      <dgm:spPr/>
    </dgm:pt>
    <dgm:pt modelId="{795505FA-D8DE-48D2-8AA1-265164B500CA}" type="pres">
      <dgm:prSet presAssocID="{A753D3EE-876E-4DCA-8335-F51286301122}" presName="root2" presStyleCnt="0"/>
      <dgm:spPr/>
    </dgm:pt>
    <dgm:pt modelId="{1EDE3657-9361-45D4-8779-221B86CB8224}" type="pres">
      <dgm:prSet presAssocID="{A753D3EE-876E-4DCA-8335-F51286301122}" presName="LevelTwoTextNode" presStyleLbl="node4" presStyleIdx="1" presStyleCnt="7">
        <dgm:presLayoutVars>
          <dgm:chPref val="3"/>
        </dgm:presLayoutVars>
      </dgm:prSet>
      <dgm:spPr/>
    </dgm:pt>
    <dgm:pt modelId="{F77E2F77-39E5-4BD0-82CB-FDE1E0EE62EE}" type="pres">
      <dgm:prSet presAssocID="{A753D3EE-876E-4DCA-8335-F51286301122}" presName="level3hierChild" presStyleCnt="0"/>
      <dgm:spPr/>
    </dgm:pt>
    <dgm:pt modelId="{2B6D0068-6FE3-4E8F-9B82-B843E2583135}" type="pres">
      <dgm:prSet presAssocID="{DC6411BD-2E51-41F8-B18B-C846C02A4771}" presName="conn2-1" presStyleLbl="parChTrans1D4" presStyleIdx="2" presStyleCnt="7"/>
      <dgm:spPr/>
    </dgm:pt>
    <dgm:pt modelId="{F3C1857D-F576-438C-99DD-BE2F6F40EB6F}" type="pres">
      <dgm:prSet presAssocID="{DC6411BD-2E51-41F8-B18B-C846C02A4771}" presName="connTx" presStyleLbl="parChTrans1D4" presStyleIdx="2" presStyleCnt="7"/>
      <dgm:spPr/>
    </dgm:pt>
    <dgm:pt modelId="{5A3CD575-D74F-433D-8FFE-3DC26F21D393}" type="pres">
      <dgm:prSet presAssocID="{24EEC066-2A0A-4537-941F-9A0621956B49}" presName="root2" presStyleCnt="0"/>
      <dgm:spPr/>
    </dgm:pt>
    <dgm:pt modelId="{DE53E6FF-8053-4340-BBC3-BBFB0CB950E3}" type="pres">
      <dgm:prSet presAssocID="{24EEC066-2A0A-4537-941F-9A0621956B49}" presName="LevelTwoTextNode" presStyleLbl="node4" presStyleIdx="2" presStyleCnt="7">
        <dgm:presLayoutVars>
          <dgm:chPref val="3"/>
        </dgm:presLayoutVars>
      </dgm:prSet>
      <dgm:spPr/>
    </dgm:pt>
    <dgm:pt modelId="{F374AF61-9A93-424E-9A2F-9CA11E3083BD}" type="pres">
      <dgm:prSet presAssocID="{24EEC066-2A0A-4537-941F-9A0621956B49}" presName="level3hierChild" presStyleCnt="0"/>
      <dgm:spPr/>
    </dgm:pt>
    <dgm:pt modelId="{9722A232-C995-43BC-92E2-A31941DEDBDC}" type="pres">
      <dgm:prSet presAssocID="{C9BD3022-12DF-4C70-8E59-09FFEE9E4FDF}" presName="conn2-1" presStyleLbl="parChTrans1D4" presStyleIdx="3" presStyleCnt="7"/>
      <dgm:spPr/>
    </dgm:pt>
    <dgm:pt modelId="{FBF51F1B-1645-4210-BAD1-37B7F3953B30}" type="pres">
      <dgm:prSet presAssocID="{C9BD3022-12DF-4C70-8E59-09FFEE9E4FDF}" presName="connTx" presStyleLbl="parChTrans1D4" presStyleIdx="3" presStyleCnt="7"/>
      <dgm:spPr/>
    </dgm:pt>
    <dgm:pt modelId="{A62B6C0C-0C95-4022-BAFF-3BFB0388B811}" type="pres">
      <dgm:prSet presAssocID="{9515CE4E-7444-40EB-93A4-CDE98862AC6A}" presName="root2" presStyleCnt="0"/>
      <dgm:spPr/>
    </dgm:pt>
    <dgm:pt modelId="{90246D3B-7CFF-4286-B91D-370AB937192B}" type="pres">
      <dgm:prSet presAssocID="{9515CE4E-7444-40EB-93A4-CDE98862AC6A}" presName="LevelTwoTextNode" presStyleLbl="node4" presStyleIdx="3" presStyleCnt="7">
        <dgm:presLayoutVars>
          <dgm:chPref val="3"/>
        </dgm:presLayoutVars>
      </dgm:prSet>
      <dgm:spPr/>
    </dgm:pt>
    <dgm:pt modelId="{7C594E4B-9636-4B15-A2E6-0ABB1365BC23}" type="pres">
      <dgm:prSet presAssocID="{9515CE4E-7444-40EB-93A4-CDE98862AC6A}" presName="level3hierChild" presStyleCnt="0"/>
      <dgm:spPr/>
    </dgm:pt>
    <dgm:pt modelId="{C048F627-A16E-441F-BE95-82699C43DB92}" type="pres">
      <dgm:prSet presAssocID="{508F0CC1-6B0D-475C-8038-BE5018FD719C}" presName="conn2-1" presStyleLbl="parChTrans1D3" presStyleIdx="1" presStyleCnt="4"/>
      <dgm:spPr/>
    </dgm:pt>
    <dgm:pt modelId="{0EF8B926-06FB-4F2B-B240-D9321F6743D1}" type="pres">
      <dgm:prSet presAssocID="{508F0CC1-6B0D-475C-8038-BE5018FD719C}" presName="connTx" presStyleLbl="parChTrans1D3" presStyleIdx="1" presStyleCnt="4"/>
      <dgm:spPr/>
    </dgm:pt>
    <dgm:pt modelId="{86F849E1-FD0C-49CA-8437-B142209AD084}" type="pres">
      <dgm:prSet presAssocID="{B2FF7F00-EA45-4EE6-89D7-380CF5E6B833}" presName="root2" presStyleCnt="0"/>
      <dgm:spPr/>
    </dgm:pt>
    <dgm:pt modelId="{DB0624BA-3CD6-4834-9F25-7EBE37F63C46}" type="pres">
      <dgm:prSet presAssocID="{B2FF7F00-EA45-4EE6-89D7-380CF5E6B833}" presName="LevelTwoTextNode" presStyleLbl="node3" presStyleIdx="1" presStyleCnt="4">
        <dgm:presLayoutVars>
          <dgm:chPref val="3"/>
        </dgm:presLayoutVars>
      </dgm:prSet>
      <dgm:spPr/>
    </dgm:pt>
    <dgm:pt modelId="{0B1D1EC3-63FE-455F-B63C-CE4519EE2AC3}" type="pres">
      <dgm:prSet presAssocID="{B2FF7F00-EA45-4EE6-89D7-380CF5E6B833}" presName="level3hierChild" presStyleCnt="0"/>
      <dgm:spPr/>
    </dgm:pt>
    <dgm:pt modelId="{EDC0D4A2-0AA7-41E9-B99B-8C152250EC05}" type="pres">
      <dgm:prSet presAssocID="{51101805-D104-40D9-A505-FC8C5699EB55}" presName="conn2-1" presStyleLbl="parChTrans1D4" presStyleIdx="4" presStyleCnt="7"/>
      <dgm:spPr/>
    </dgm:pt>
    <dgm:pt modelId="{359C9019-811F-45D6-9E46-EA0B63D05CEF}" type="pres">
      <dgm:prSet presAssocID="{51101805-D104-40D9-A505-FC8C5699EB55}" presName="connTx" presStyleLbl="parChTrans1D4" presStyleIdx="4" presStyleCnt="7"/>
      <dgm:spPr/>
    </dgm:pt>
    <dgm:pt modelId="{B8AB448F-8E7F-4C80-9E64-2F39E96E53A0}" type="pres">
      <dgm:prSet presAssocID="{20E21E3E-A841-4758-8DDA-E8E3F7D9552A}" presName="root2" presStyleCnt="0"/>
      <dgm:spPr/>
    </dgm:pt>
    <dgm:pt modelId="{76A8198E-A103-4ED6-8C85-2368D377D598}" type="pres">
      <dgm:prSet presAssocID="{20E21E3E-A841-4758-8DDA-E8E3F7D9552A}" presName="LevelTwoTextNode" presStyleLbl="node4" presStyleIdx="4" presStyleCnt="7">
        <dgm:presLayoutVars>
          <dgm:chPref val="3"/>
        </dgm:presLayoutVars>
      </dgm:prSet>
      <dgm:spPr/>
    </dgm:pt>
    <dgm:pt modelId="{10600C33-3C7D-4D72-8F72-3570B6A8C34F}" type="pres">
      <dgm:prSet presAssocID="{20E21E3E-A841-4758-8DDA-E8E3F7D9552A}" presName="level3hierChild" presStyleCnt="0"/>
      <dgm:spPr/>
    </dgm:pt>
    <dgm:pt modelId="{6C9636C7-2499-4F2B-852A-AC08ABF57691}" type="pres">
      <dgm:prSet presAssocID="{579E95F2-699E-4DF4-ABDB-69F40A4D0FA7}" presName="conn2-1" presStyleLbl="parChTrans1D2" presStyleIdx="1" presStyleCnt="2"/>
      <dgm:spPr/>
    </dgm:pt>
    <dgm:pt modelId="{8C85D2C7-3DA9-4A7E-9C3F-11423D9AD7EB}" type="pres">
      <dgm:prSet presAssocID="{579E95F2-699E-4DF4-ABDB-69F40A4D0FA7}" presName="connTx" presStyleLbl="parChTrans1D2" presStyleIdx="1" presStyleCnt="2"/>
      <dgm:spPr/>
    </dgm:pt>
    <dgm:pt modelId="{4D0E5ADC-6D1D-4B1D-A05F-ECCEEADFA1D9}" type="pres">
      <dgm:prSet presAssocID="{F2E891F4-E21F-4B33-8DA6-C688BB7BCDF1}" presName="root2" presStyleCnt="0"/>
      <dgm:spPr/>
    </dgm:pt>
    <dgm:pt modelId="{684602D2-1D85-4FF4-8913-BFFF9DD703E8}" type="pres">
      <dgm:prSet presAssocID="{F2E891F4-E21F-4B33-8DA6-C688BB7BCDF1}" presName="LevelTwoTextNode" presStyleLbl="node2" presStyleIdx="1" presStyleCnt="2">
        <dgm:presLayoutVars>
          <dgm:chPref val="3"/>
        </dgm:presLayoutVars>
      </dgm:prSet>
      <dgm:spPr/>
    </dgm:pt>
    <dgm:pt modelId="{CAE1E0DF-964D-44B8-A168-92E419D98E84}" type="pres">
      <dgm:prSet presAssocID="{F2E891F4-E21F-4B33-8DA6-C688BB7BCDF1}" presName="level3hierChild" presStyleCnt="0"/>
      <dgm:spPr/>
    </dgm:pt>
    <dgm:pt modelId="{9FE69F9C-51EE-4341-8F5F-9CC37E67BEE2}" type="pres">
      <dgm:prSet presAssocID="{6B0EE9CD-2E95-43B5-BE66-F30E0DE245CD}" presName="conn2-1" presStyleLbl="parChTrans1D3" presStyleIdx="2" presStyleCnt="4"/>
      <dgm:spPr/>
    </dgm:pt>
    <dgm:pt modelId="{D90C403B-E1E3-4C27-8C4C-0E38D06A93AF}" type="pres">
      <dgm:prSet presAssocID="{6B0EE9CD-2E95-43B5-BE66-F30E0DE245CD}" presName="connTx" presStyleLbl="parChTrans1D3" presStyleIdx="2" presStyleCnt="4"/>
      <dgm:spPr/>
    </dgm:pt>
    <dgm:pt modelId="{9A2E2C7D-8F0B-4799-A383-740F0166F414}" type="pres">
      <dgm:prSet presAssocID="{EC6D79AC-9674-4E1E-9127-D8464F99866F}" presName="root2" presStyleCnt="0"/>
      <dgm:spPr/>
    </dgm:pt>
    <dgm:pt modelId="{8454E545-8B1A-4930-A9A9-C602660A793D}" type="pres">
      <dgm:prSet presAssocID="{EC6D79AC-9674-4E1E-9127-D8464F99866F}" presName="LevelTwoTextNode" presStyleLbl="node3" presStyleIdx="2" presStyleCnt="4">
        <dgm:presLayoutVars>
          <dgm:chPref val="3"/>
        </dgm:presLayoutVars>
      </dgm:prSet>
      <dgm:spPr/>
    </dgm:pt>
    <dgm:pt modelId="{4F38B967-2699-4794-B9A9-9DFFC6B303DD}" type="pres">
      <dgm:prSet presAssocID="{EC6D79AC-9674-4E1E-9127-D8464F99866F}" presName="level3hierChild" presStyleCnt="0"/>
      <dgm:spPr/>
    </dgm:pt>
    <dgm:pt modelId="{817C6FF2-65ED-4BA3-9B31-F6061CC281AD}" type="pres">
      <dgm:prSet presAssocID="{77EFAE13-B4AC-442C-89FF-61F9237F9526}" presName="conn2-1" presStyleLbl="parChTrans1D4" presStyleIdx="5" presStyleCnt="7"/>
      <dgm:spPr/>
    </dgm:pt>
    <dgm:pt modelId="{4D5A1666-C37A-4F26-84BD-DD23793E895D}" type="pres">
      <dgm:prSet presAssocID="{77EFAE13-B4AC-442C-89FF-61F9237F9526}" presName="connTx" presStyleLbl="parChTrans1D4" presStyleIdx="5" presStyleCnt="7"/>
      <dgm:spPr/>
    </dgm:pt>
    <dgm:pt modelId="{703D483A-3557-443F-BD60-344A388ED41D}" type="pres">
      <dgm:prSet presAssocID="{2BBF0687-B095-4F0A-A1BE-09C5936255FC}" presName="root2" presStyleCnt="0"/>
      <dgm:spPr/>
    </dgm:pt>
    <dgm:pt modelId="{CF03E51F-14B7-49E6-83FE-176353D8ECA8}" type="pres">
      <dgm:prSet presAssocID="{2BBF0687-B095-4F0A-A1BE-09C5936255FC}" presName="LevelTwoTextNode" presStyleLbl="node4" presStyleIdx="5" presStyleCnt="7">
        <dgm:presLayoutVars>
          <dgm:chPref val="3"/>
        </dgm:presLayoutVars>
      </dgm:prSet>
      <dgm:spPr/>
    </dgm:pt>
    <dgm:pt modelId="{BAB597D0-EDD1-4E4C-AA18-494101235E7F}" type="pres">
      <dgm:prSet presAssocID="{2BBF0687-B095-4F0A-A1BE-09C5936255FC}" presName="level3hierChild" presStyleCnt="0"/>
      <dgm:spPr/>
    </dgm:pt>
    <dgm:pt modelId="{7C518A94-1528-4C35-B34E-3D2730B7BAA1}" type="pres">
      <dgm:prSet presAssocID="{5398DBD6-1A2B-4A83-A486-BA8B545F3E03}" presName="conn2-1" presStyleLbl="parChTrans1D3" presStyleIdx="3" presStyleCnt="4"/>
      <dgm:spPr/>
    </dgm:pt>
    <dgm:pt modelId="{9153FE2B-610F-4C07-8D67-8D69CB1CC9CD}" type="pres">
      <dgm:prSet presAssocID="{5398DBD6-1A2B-4A83-A486-BA8B545F3E03}" presName="connTx" presStyleLbl="parChTrans1D3" presStyleIdx="3" presStyleCnt="4"/>
      <dgm:spPr/>
    </dgm:pt>
    <dgm:pt modelId="{4ED6CA49-F441-4902-A77C-034561EA2945}" type="pres">
      <dgm:prSet presAssocID="{FB66839C-B554-45FE-BAEE-352410A4C12D}" presName="root2" presStyleCnt="0"/>
      <dgm:spPr/>
    </dgm:pt>
    <dgm:pt modelId="{727EE19F-11FB-4DA9-88EF-6AEFD77BCF4A}" type="pres">
      <dgm:prSet presAssocID="{FB66839C-B554-45FE-BAEE-352410A4C12D}" presName="LevelTwoTextNode" presStyleLbl="node3" presStyleIdx="3" presStyleCnt="4">
        <dgm:presLayoutVars>
          <dgm:chPref val="3"/>
        </dgm:presLayoutVars>
      </dgm:prSet>
      <dgm:spPr/>
    </dgm:pt>
    <dgm:pt modelId="{053B9F16-9660-4005-BA3C-300949F993EE}" type="pres">
      <dgm:prSet presAssocID="{FB66839C-B554-45FE-BAEE-352410A4C12D}" presName="level3hierChild" presStyleCnt="0"/>
      <dgm:spPr/>
    </dgm:pt>
    <dgm:pt modelId="{1466BECD-2692-4786-AD54-872B3C8C30CC}" type="pres">
      <dgm:prSet presAssocID="{BA1E47FE-BE74-4B2C-8383-84C31F0201A4}" presName="conn2-1" presStyleLbl="parChTrans1D4" presStyleIdx="6" presStyleCnt="7"/>
      <dgm:spPr/>
    </dgm:pt>
    <dgm:pt modelId="{3F5D9EDB-D09C-4B58-8528-A790A2E0C8FD}" type="pres">
      <dgm:prSet presAssocID="{BA1E47FE-BE74-4B2C-8383-84C31F0201A4}" presName="connTx" presStyleLbl="parChTrans1D4" presStyleIdx="6" presStyleCnt="7"/>
      <dgm:spPr/>
    </dgm:pt>
    <dgm:pt modelId="{865E00D5-61D2-4423-9F0D-4653C5B53AFB}" type="pres">
      <dgm:prSet presAssocID="{B73B9113-27D1-4E4E-87D1-57BE3028916C}" presName="root2" presStyleCnt="0"/>
      <dgm:spPr/>
    </dgm:pt>
    <dgm:pt modelId="{ABE652F6-97EC-42D9-8CD8-540BE506F0DE}" type="pres">
      <dgm:prSet presAssocID="{B73B9113-27D1-4E4E-87D1-57BE3028916C}" presName="LevelTwoTextNode" presStyleLbl="node4" presStyleIdx="6" presStyleCnt="7">
        <dgm:presLayoutVars>
          <dgm:chPref val="3"/>
        </dgm:presLayoutVars>
      </dgm:prSet>
      <dgm:spPr/>
    </dgm:pt>
    <dgm:pt modelId="{02F1C038-E2D2-4A09-BACD-C095D520CB68}" type="pres">
      <dgm:prSet presAssocID="{B73B9113-27D1-4E4E-87D1-57BE3028916C}" presName="level3hierChild" presStyleCnt="0"/>
      <dgm:spPr/>
    </dgm:pt>
  </dgm:ptLst>
  <dgm:cxnLst>
    <dgm:cxn modelId="{05A33701-6B90-4A5B-AE34-8EFE21C5873B}" type="presOf" srcId="{9515CE4E-7444-40EB-93A4-CDE98862AC6A}" destId="{90246D3B-7CFF-4286-B91D-370AB937192B}" srcOrd="0" destOrd="0" presId="urn:microsoft.com/office/officeart/2005/8/layout/hierarchy2"/>
    <dgm:cxn modelId="{01F5AA0A-10F4-425D-9C53-8B5AF26AC0B2}" type="presOf" srcId="{BDE809B0-70AC-4BFC-8CAB-586FB741C3F8}" destId="{A49805BE-C9B6-4B1D-844D-DAF0B1AD8566}" srcOrd="0" destOrd="0" presId="urn:microsoft.com/office/officeart/2005/8/layout/hierarchy2"/>
    <dgm:cxn modelId="{B954F00C-4528-4DDA-BC92-24C5914992C7}" type="presOf" srcId="{24EEC066-2A0A-4537-941F-9A0621956B49}" destId="{DE53E6FF-8053-4340-BBC3-BBFB0CB950E3}" srcOrd="0" destOrd="0" presId="urn:microsoft.com/office/officeart/2005/8/layout/hierarchy2"/>
    <dgm:cxn modelId="{A9BA350D-126D-4900-8C53-3BFB8D3BACAB}" type="presOf" srcId="{BA1E47FE-BE74-4B2C-8383-84C31F0201A4}" destId="{1466BECD-2692-4786-AD54-872B3C8C30CC}" srcOrd="0" destOrd="0" presId="urn:microsoft.com/office/officeart/2005/8/layout/hierarchy2"/>
    <dgm:cxn modelId="{4D84010F-BAB5-42CC-BD99-1DDD4FEF3369}" srcId="{A0D536EA-FCA4-4D02-B69F-F5A7FC700069}" destId="{BCB54F11-E6C0-4C2D-96CA-42EB992D02C6}" srcOrd="0" destOrd="0" parTransId="{E093BDD2-87E5-4048-8CBB-5A7DDB90E422}" sibTransId="{3171C63B-07FF-4437-B14F-142ED5A8A4C7}"/>
    <dgm:cxn modelId="{434EA90F-FF0C-4C48-A20A-9D34A81F4D57}" type="presOf" srcId="{51101805-D104-40D9-A505-FC8C5699EB55}" destId="{359C9019-811F-45D6-9E46-EA0B63D05CEF}" srcOrd="1" destOrd="0" presId="urn:microsoft.com/office/officeart/2005/8/layout/hierarchy2"/>
    <dgm:cxn modelId="{29A59410-C963-4D4E-BAB5-2ABE7B50E917}" type="presOf" srcId="{579E95F2-699E-4DF4-ABDB-69F40A4D0FA7}" destId="{6C9636C7-2499-4F2B-852A-AC08ABF57691}" srcOrd="0" destOrd="0" presId="urn:microsoft.com/office/officeart/2005/8/layout/hierarchy2"/>
    <dgm:cxn modelId="{E1824F13-CC3B-4D10-A29F-33BB3676ECC1}" type="presOf" srcId="{51101805-D104-40D9-A505-FC8C5699EB55}" destId="{EDC0D4A2-0AA7-41E9-B99B-8C152250EC05}" srcOrd="0" destOrd="0" presId="urn:microsoft.com/office/officeart/2005/8/layout/hierarchy2"/>
    <dgm:cxn modelId="{33880D19-A018-43C2-AA91-83E18C2A2177}" type="presOf" srcId="{C1EB25B0-C434-41E8-BFF3-BA9C82948CDB}" destId="{F42279E6-F0AF-42CD-B05C-E5BBB0D238BC}" srcOrd="1" destOrd="0" presId="urn:microsoft.com/office/officeart/2005/8/layout/hierarchy2"/>
    <dgm:cxn modelId="{D3365A27-076C-407C-AD4D-31062F090F44}" type="presOf" srcId="{508F0CC1-6B0D-475C-8038-BE5018FD719C}" destId="{C048F627-A16E-441F-BE95-82699C43DB92}" srcOrd="0" destOrd="0" presId="urn:microsoft.com/office/officeart/2005/8/layout/hierarchy2"/>
    <dgm:cxn modelId="{34ED6328-27A9-4B7A-A12D-4879F6651040}" type="presOf" srcId="{F2E891F4-E21F-4B33-8DA6-C688BB7BCDF1}" destId="{684602D2-1D85-4FF4-8913-BFFF9DD703E8}" srcOrd="0" destOrd="0" presId="urn:microsoft.com/office/officeart/2005/8/layout/hierarchy2"/>
    <dgm:cxn modelId="{44712C33-E542-41E8-9847-0704425EEFC5}" srcId="{5B04D0A6-1A3B-42FB-A69E-8963AE4F499F}" destId="{A0D536EA-FCA4-4D02-B69F-F5A7FC700069}" srcOrd="0" destOrd="0" parTransId="{37159368-7558-4D0F-A132-905783D58D12}" sibTransId="{649AB15E-AD08-47BD-9ECA-D5419AA8F8E7}"/>
    <dgm:cxn modelId="{5D428F38-1D36-436F-BD3C-D904216DA8AD}" type="presOf" srcId="{2BBF0687-B095-4F0A-A1BE-09C5936255FC}" destId="{CF03E51F-14B7-49E6-83FE-176353D8ECA8}" srcOrd="0" destOrd="0" presId="urn:microsoft.com/office/officeart/2005/8/layout/hierarchy2"/>
    <dgm:cxn modelId="{53D6F639-2380-4DCA-A136-3E93A3C7CCAF}" type="presOf" srcId="{579E95F2-699E-4DF4-ABDB-69F40A4D0FA7}" destId="{8C85D2C7-3DA9-4A7E-9C3F-11423D9AD7EB}" srcOrd="1" destOrd="0" presId="urn:microsoft.com/office/officeart/2005/8/layout/hierarchy2"/>
    <dgm:cxn modelId="{A5ED835E-5F2C-4669-AE20-D10308B2E2DA}" type="presOf" srcId="{BDE809B0-70AC-4BFC-8CAB-586FB741C3F8}" destId="{E4D2591A-80D1-4F5F-ABDB-EB62F22AD203}" srcOrd="1" destOrd="0" presId="urn:microsoft.com/office/officeart/2005/8/layout/hierarchy2"/>
    <dgm:cxn modelId="{C4C1E841-A0BA-408E-8BBD-D4173BED8814}" srcId="{B2FF7F00-EA45-4EE6-89D7-380CF5E6B833}" destId="{20E21E3E-A841-4758-8DDA-E8E3F7D9552A}" srcOrd="0" destOrd="0" parTransId="{51101805-D104-40D9-A505-FC8C5699EB55}" sibTransId="{8DAA2DD2-412C-4328-BBB6-A4AD04F4DD83}"/>
    <dgm:cxn modelId="{A7FC6C64-44A7-4E12-90F7-C2D17991F1F5}" srcId="{E527F988-260F-4D3E-9B7D-99895090B59C}" destId="{24EEC066-2A0A-4537-941F-9A0621956B49}" srcOrd="1" destOrd="0" parTransId="{DC6411BD-2E51-41F8-B18B-C846C02A4771}" sibTransId="{24E8AC2C-81B9-460C-909D-E2F2C7BEA7F4}"/>
    <dgm:cxn modelId="{7214EC45-A706-4341-8336-E3657E2C2419}" srcId="{24EEC066-2A0A-4537-941F-9A0621956B49}" destId="{9515CE4E-7444-40EB-93A4-CDE98862AC6A}" srcOrd="0" destOrd="0" parTransId="{C9BD3022-12DF-4C70-8E59-09FFEE9E4FDF}" sibTransId="{5D4110DA-07BA-4F3D-AFD5-8998664855EE}"/>
    <dgm:cxn modelId="{B572136A-4999-4624-92CC-78CD9328330E}" type="presOf" srcId="{20E21E3E-A841-4758-8DDA-E8E3F7D9552A}" destId="{76A8198E-A103-4ED6-8C85-2368D377D598}" srcOrd="0" destOrd="0" presId="urn:microsoft.com/office/officeart/2005/8/layout/hierarchy2"/>
    <dgm:cxn modelId="{3979E14A-6A1B-4C78-B12B-B7F20EB2B772}" type="presOf" srcId="{763E9E80-693A-4235-87E4-A5AF017B577A}" destId="{FEFB87AA-B9A6-44B1-AEC9-3771863FB7A4}" srcOrd="1" destOrd="0" presId="urn:microsoft.com/office/officeart/2005/8/layout/hierarchy2"/>
    <dgm:cxn modelId="{FDC88E4C-14C0-4E00-8060-D9EAD75047C8}" type="presOf" srcId="{A0D536EA-FCA4-4D02-B69F-F5A7FC700069}" destId="{49F26713-7102-4DBA-975A-66261E72AAEA}" srcOrd="0" destOrd="0" presId="urn:microsoft.com/office/officeart/2005/8/layout/hierarchy2"/>
    <dgm:cxn modelId="{5848944C-60D1-4558-96BE-44FB4520E17C}" type="presOf" srcId="{508F0CC1-6B0D-475C-8038-BE5018FD719C}" destId="{0EF8B926-06FB-4F2B-B240-D9321F6743D1}" srcOrd="1" destOrd="0" presId="urn:microsoft.com/office/officeart/2005/8/layout/hierarchy2"/>
    <dgm:cxn modelId="{20C9D64D-7987-47EB-9730-6EA5CE78AC70}" type="presOf" srcId="{86209361-DAEF-409C-B9C3-11C70C948D08}" destId="{FE716DB4-7587-49B7-809D-5F1386BB1CD6}" srcOrd="0" destOrd="0" presId="urn:microsoft.com/office/officeart/2005/8/layout/hierarchy2"/>
    <dgm:cxn modelId="{0622FD6E-F6B4-47F0-B775-201611FD6CA0}" type="presOf" srcId="{B73B9113-27D1-4E4E-87D1-57BE3028916C}" destId="{ABE652F6-97EC-42D9-8CD8-540BE506F0DE}" srcOrd="0" destOrd="0" presId="urn:microsoft.com/office/officeart/2005/8/layout/hierarchy2"/>
    <dgm:cxn modelId="{714ABE70-BE94-4860-95EE-054F1974473F}" type="presOf" srcId="{E527F988-260F-4D3E-9B7D-99895090B59C}" destId="{8969B42D-6BC3-4B8A-936A-5F8A3F47BE5B}" srcOrd="0" destOrd="0" presId="urn:microsoft.com/office/officeart/2005/8/layout/hierarchy2"/>
    <dgm:cxn modelId="{891B6C58-B18D-46D9-99F6-58A59101DEDC}" type="presOf" srcId="{EC6D79AC-9674-4E1E-9127-D8464F99866F}" destId="{8454E545-8B1A-4930-A9A9-C602660A793D}" srcOrd="0" destOrd="0" presId="urn:microsoft.com/office/officeart/2005/8/layout/hierarchy2"/>
    <dgm:cxn modelId="{1A89297E-70C9-40A5-B10A-8849267DEB14}" type="presOf" srcId="{E093BDD2-87E5-4048-8CBB-5A7DDB90E422}" destId="{D696AC80-0CCD-4AF0-81E2-A5D510496D9C}" srcOrd="1" destOrd="0" presId="urn:microsoft.com/office/officeart/2005/8/layout/hierarchy2"/>
    <dgm:cxn modelId="{37DE2C7E-822D-453D-8C7B-717037049026}" type="presOf" srcId="{5398DBD6-1A2B-4A83-A486-BA8B545F3E03}" destId="{7C518A94-1528-4C35-B34E-3D2730B7BAA1}" srcOrd="0" destOrd="0" presId="urn:microsoft.com/office/officeart/2005/8/layout/hierarchy2"/>
    <dgm:cxn modelId="{C19A0081-13F5-4854-BEF2-BC0908D00B8A}" type="presOf" srcId="{C9BD3022-12DF-4C70-8E59-09FFEE9E4FDF}" destId="{9722A232-C995-43BC-92E2-A31941DEDBDC}" srcOrd="0" destOrd="0" presId="urn:microsoft.com/office/officeart/2005/8/layout/hierarchy2"/>
    <dgm:cxn modelId="{47E42B82-40A7-436F-8714-8B0ED01A437C}" type="presOf" srcId="{77EFAE13-B4AC-442C-89FF-61F9237F9526}" destId="{817C6FF2-65ED-4BA3-9B31-F6061CC281AD}" srcOrd="0" destOrd="0" presId="urn:microsoft.com/office/officeart/2005/8/layout/hierarchy2"/>
    <dgm:cxn modelId="{ACF4008B-B60B-43F1-80C2-8AFB0022F2FA}" srcId="{EC6D79AC-9674-4E1E-9127-D8464F99866F}" destId="{2BBF0687-B095-4F0A-A1BE-09C5936255FC}" srcOrd="0" destOrd="0" parTransId="{77EFAE13-B4AC-442C-89FF-61F9237F9526}" sibTransId="{F0791A44-A963-4E97-9D5C-C0A98E53E609}"/>
    <dgm:cxn modelId="{E316C08D-A719-46C5-8F8F-000E50BEA3FB}" type="presOf" srcId="{BCB54F11-E6C0-4C2D-96CA-42EB992D02C6}" destId="{D9079FC4-084B-417F-9031-4C416C90D2F1}" srcOrd="0" destOrd="0" presId="urn:microsoft.com/office/officeart/2005/8/layout/hierarchy2"/>
    <dgm:cxn modelId="{EA491791-4C3E-4C58-ABE4-1863B5368C18}" type="presOf" srcId="{BA1E47FE-BE74-4B2C-8383-84C31F0201A4}" destId="{3F5D9EDB-D09C-4B58-8528-A790A2E0C8FD}" srcOrd="1" destOrd="0" presId="urn:microsoft.com/office/officeart/2005/8/layout/hierarchy2"/>
    <dgm:cxn modelId="{96CCA792-36BF-4CE7-A4FD-246A7680C3B2}" type="presOf" srcId="{C9BD3022-12DF-4C70-8E59-09FFEE9E4FDF}" destId="{FBF51F1B-1645-4210-BAD1-37B7F3953B30}" srcOrd="1" destOrd="0" presId="urn:microsoft.com/office/officeart/2005/8/layout/hierarchy2"/>
    <dgm:cxn modelId="{E8C9EE92-D398-488A-9A59-85D936AEFDF3}" srcId="{F2E891F4-E21F-4B33-8DA6-C688BB7BCDF1}" destId="{EC6D79AC-9674-4E1E-9127-D8464F99866F}" srcOrd="0" destOrd="0" parTransId="{6B0EE9CD-2E95-43B5-BE66-F30E0DE245CD}" sibTransId="{76C5F491-7509-4CB5-8A73-22CED7FBB6F9}"/>
    <dgm:cxn modelId="{2F4CD196-AA8F-4BE8-AE40-5664EC8BFEC0}" type="presOf" srcId="{5398DBD6-1A2B-4A83-A486-BA8B545F3E03}" destId="{9153FE2B-610F-4C07-8D67-8D69CB1CC9CD}" srcOrd="1" destOrd="0" presId="urn:microsoft.com/office/officeart/2005/8/layout/hierarchy2"/>
    <dgm:cxn modelId="{AD7E4EA4-F0FB-4478-A62B-A121B157670E}" type="presOf" srcId="{E093BDD2-87E5-4048-8CBB-5A7DDB90E422}" destId="{18AAF45A-A872-4892-BC2E-4A48F7461E51}" srcOrd="0" destOrd="0" presId="urn:microsoft.com/office/officeart/2005/8/layout/hierarchy2"/>
    <dgm:cxn modelId="{C7EE24A5-003D-4B6B-B63F-E45AB45F23CD}" type="presOf" srcId="{5B04D0A6-1A3B-42FB-A69E-8963AE4F499F}" destId="{E4FA29CC-0A41-474F-ACF4-D5BBDAEE26C9}" srcOrd="0" destOrd="0" presId="urn:microsoft.com/office/officeart/2005/8/layout/hierarchy2"/>
    <dgm:cxn modelId="{EB3F0AAA-B425-4C21-BFF6-730B9479506D}" type="presOf" srcId="{6B0EE9CD-2E95-43B5-BE66-F30E0DE245CD}" destId="{D90C403B-E1E3-4C27-8C4C-0E38D06A93AF}" srcOrd="1" destOrd="0" presId="urn:microsoft.com/office/officeart/2005/8/layout/hierarchy2"/>
    <dgm:cxn modelId="{4D8C42AC-593E-4EFB-9A6A-2A96825FEAD7}" type="presOf" srcId="{B2FF7F00-EA45-4EE6-89D7-380CF5E6B833}" destId="{DB0624BA-3CD6-4834-9F25-7EBE37F63C46}" srcOrd="0" destOrd="0" presId="urn:microsoft.com/office/officeart/2005/8/layout/hierarchy2"/>
    <dgm:cxn modelId="{99C5B1AC-1769-422C-A532-5BB2EDD09DDE}" type="presOf" srcId="{77EFAE13-B4AC-442C-89FF-61F9237F9526}" destId="{4D5A1666-C37A-4F26-84BD-DD23793E895D}" srcOrd="1" destOrd="0" presId="urn:microsoft.com/office/officeart/2005/8/layout/hierarchy2"/>
    <dgm:cxn modelId="{4E6967AE-A73C-4069-B574-1F9AC8A8F3F7}" type="presOf" srcId="{C1EB25B0-C434-41E8-BFF3-BA9C82948CDB}" destId="{3BECF918-4C3C-43E0-BF8A-E565DB2BF452}" srcOrd="0" destOrd="0" presId="urn:microsoft.com/office/officeart/2005/8/layout/hierarchy2"/>
    <dgm:cxn modelId="{21E51FB0-3E45-4F25-A080-75D26FD7DDEA}" srcId="{F2E891F4-E21F-4B33-8DA6-C688BB7BCDF1}" destId="{FB66839C-B554-45FE-BAEE-352410A4C12D}" srcOrd="1" destOrd="0" parTransId="{5398DBD6-1A2B-4A83-A486-BA8B545F3E03}" sibTransId="{5B5C86DE-FDDB-41DD-8E48-79F590579DDC}"/>
    <dgm:cxn modelId="{60FB1FB3-3494-4F7A-8536-B34C1B6308B8}" type="presOf" srcId="{DC6411BD-2E51-41F8-B18B-C846C02A4771}" destId="{2B6D0068-6FE3-4E8F-9B82-B843E2583135}" srcOrd="0" destOrd="0" presId="urn:microsoft.com/office/officeart/2005/8/layout/hierarchy2"/>
    <dgm:cxn modelId="{4C76A7B3-5E0D-41EE-A682-651DD6EB2CE0}" srcId="{E527F988-260F-4D3E-9B7D-99895090B59C}" destId="{86209361-DAEF-409C-B9C3-11C70C948D08}" srcOrd="0" destOrd="0" parTransId="{C1EB25B0-C434-41E8-BFF3-BA9C82948CDB}" sibTransId="{9F94CF4A-AF96-4B57-9F3F-079EFC94154E}"/>
    <dgm:cxn modelId="{972979B6-CC79-4EEA-BC52-9BEC8794E4D5}" srcId="{86209361-DAEF-409C-B9C3-11C70C948D08}" destId="{A753D3EE-876E-4DCA-8335-F51286301122}" srcOrd="0" destOrd="0" parTransId="{763E9E80-693A-4235-87E4-A5AF017B577A}" sibTransId="{02BF3BD8-BDDF-42AE-A1FF-C85D257D4FEC}"/>
    <dgm:cxn modelId="{593714B7-FA69-4513-B4C2-FA54B3D93BDA}" srcId="{BCB54F11-E6C0-4C2D-96CA-42EB992D02C6}" destId="{B2FF7F00-EA45-4EE6-89D7-380CF5E6B833}" srcOrd="1" destOrd="0" parTransId="{508F0CC1-6B0D-475C-8038-BE5018FD719C}" sibTransId="{F013F887-1EFD-44ED-B359-F8CEEEA1A61F}"/>
    <dgm:cxn modelId="{93DB88BF-3F47-4FF0-91AC-CC2A36EECF21}" srcId="{A0D536EA-FCA4-4D02-B69F-F5A7FC700069}" destId="{F2E891F4-E21F-4B33-8DA6-C688BB7BCDF1}" srcOrd="1" destOrd="0" parTransId="{579E95F2-699E-4DF4-ABDB-69F40A4D0FA7}" sibTransId="{4D50CBFD-DAAC-45FD-8220-F7132C6B2818}"/>
    <dgm:cxn modelId="{061A43C6-2E7E-478D-BBAF-E3106BD86CC2}" srcId="{FB66839C-B554-45FE-BAEE-352410A4C12D}" destId="{B73B9113-27D1-4E4E-87D1-57BE3028916C}" srcOrd="0" destOrd="0" parTransId="{BA1E47FE-BE74-4B2C-8383-84C31F0201A4}" sibTransId="{1A686656-1927-4A74-918E-AD23C71C2B32}"/>
    <dgm:cxn modelId="{947304CC-9687-4716-AB19-A4BDB6ACB069}" type="presOf" srcId="{DC6411BD-2E51-41F8-B18B-C846C02A4771}" destId="{F3C1857D-F576-438C-99DD-BE2F6F40EB6F}" srcOrd="1" destOrd="0" presId="urn:microsoft.com/office/officeart/2005/8/layout/hierarchy2"/>
    <dgm:cxn modelId="{E8D366CC-5C2A-463A-9041-841E10E5F4A8}" srcId="{BCB54F11-E6C0-4C2D-96CA-42EB992D02C6}" destId="{E527F988-260F-4D3E-9B7D-99895090B59C}" srcOrd="0" destOrd="0" parTransId="{BDE809B0-70AC-4BFC-8CAB-586FB741C3F8}" sibTransId="{E3502A46-028E-4A0D-BC02-7C21BC2F86F5}"/>
    <dgm:cxn modelId="{583AB2DC-F0B1-4931-8717-E3C7874F3DD0}" type="presOf" srcId="{FB66839C-B554-45FE-BAEE-352410A4C12D}" destId="{727EE19F-11FB-4DA9-88EF-6AEFD77BCF4A}" srcOrd="0" destOrd="0" presId="urn:microsoft.com/office/officeart/2005/8/layout/hierarchy2"/>
    <dgm:cxn modelId="{E108F4DF-83F5-478C-9B54-37660552002C}" type="presOf" srcId="{A753D3EE-876E-4DCA-8335-F51286301122}" destId="{1EDE3657-9361-45D4-8779-221B86CB8224}" srcOrd="0" destOrd="0" presId="urn:microsoft.com/office/officeart/2005/8/layout/hierarchy2"/>
    <dgm:cxn modelId="{6D56BFEF-3940-4EC9-9D07-3C83A55BA255}" type="presOf" srcId="{6B0EE9CD-2E95-43B5-BE66-F30E0DE245CD}" destId="{9FE69F9C-51EE-4341-8F5F-9CC37E67BEE2}" srcOrd="0" destOrd="0" presId="urn:microsoft.com/office/officeart/2005/8/layout/hierarchy2"/>
    <dgm:cxn modelId="{AED451F8-8EAA-4C18-B09E-8CB7C6A21BB9}" type="presOf" srcId="{763E9E80-693A-4235-87E4-A5AF017B577A}" destId="{3B9B0C84-CA2A-4B43-8B9F-23E48F48F101}" srcOrd="0" destOrd="0" presId="urn:microsoft.com/office/officeart/2005/8/layout/hierarchy2"/>
    <dgm:cxn modelId="{EE2CDF03-B874-4303-8A52-39A1DE3EE5B1}" type="presParOf" srcId="{E4FA29CC-0A41-474F-ACF4-D5BBDAEE26C9}" destId="{9449B6B0-6515-4A7E-AB61-3BE6DECB7B22}" srcOrd="0" destOrd="0" presId="urn:microsoft.com/office/officeart/2005/8/layout/hierarchy2"/>
    <dgm:cxn modelId="{01175764-B546-4EB0-A3B2-67FCD1BF00F5}" type="presParOf" srcId="{9449B6B0-6515-4A7E-AB61-3BE6DECB7B22}" destId="{49F26713-7102-4DBA-975A-66261E72AAEA}" srcOrd="0" destOrd="0" presId="urn:microsoft.com/office/officeart/2005/8/layout/hierarchy2"/>
    <dgm:cxn modelId="{39E33B60-1E15-43B5-9B10-6C1D524B2572}" type="presParOf" srcId="{9449B6B0-6515-4A7E-AB61-3BE6DECB7B22}" destId="{91A61326-9538-492A-9AC2-BD3DD0E188B9}" srcOrd="1" destOrd="0" presId="urn:microsoft.com/office/officeart/2005/8/layout/hierarchy2"/>
    <dgm:cxn modelId="{49C1BF1A-54CC-474A-AA65-B7C219D64EC6}" type="presParOf" srcId="{91A61326-9538-492A-9AC2-BD3DD0E188B9}" destId="{18AAF45A-A872-4892-BC2E-4A48F7461E51}" srcOrd="0" destOrd="0" presId="urn:microsoft.com/office/officeart/2005/8/layout/hierarchy2"/>
    <dgm:cxn modelId="{EB7BA911-86F1-4D36-AC5D-91D5BE005A4E}" type="presParOf" srcId="{18AAF45A-A872-4892-BC2E-4A48F7461E51}" destId="{D696AC80-0CCD-4AF0-81E2-A5D510496D9C}" srcOrd="0" destOrd="0" presId="urn:microsoft.com/office/officeart/2005/8/layout/hierarchy2"/>
    <dgm:cxn modelId="{1F5B8E85-0295-4D85-9D49-9183A82422A1}" type="presParOf" srcId="{91A61326-9538-492A-9AC2-BD3DD0E188B9}" destId="{9CB454F5-BA89-407E-97EA-400DA5C9F7B6}" srcOrd="1" destOrd="0" presId="urn:microsoft.com/office/officeart/2005/8/layout/hierarchy2"/>
    <dgm:cxn modelId="{4C67FBE0-2008-428C-A5B0-EC3FC5300DC8}" type="presParOf" srcId="{9CB454F5-BA89-407E-97EA-400DA5C9F7B6}" destId="{D9079FC4-084B-417F-9031-4C416C90D2F1}" srcOrd="0" destOrd="0" presId="urn:microsoft.com/office/officeart/2005/8/layout/hierarchy2"/>
    <dgm:cxn modelId="{DA2BE2EB-1797-405B-A2CB-66F1A246493B}" type="presParOf" srcId="{9CB454F5-BA89-407E-97EA-400DA5C9F7B6}" destId="{971AB681-BD7C-4291-AE02-11967217D969}" srcOrd="1" destOrd="0" presId="urn:microsoft.com/office/officeart/2005/8/layout/hierarchy2"/>
    <dgm:cxn modelId="{7E8DDF63-E418-4D72-8501-753CAD024C27}" type="presParOf" srcId="{971AB681-BD7C-4291-AE02-11967217D969}" destId="{A49805BE-C9B6-4B1D-844D-DAF0B1AD8566}" srcOrd="0" destOrd="0" presId="urn:microsoft.com/office/officeart/2005/8/layout/hierarchy2"/>
    <dgm:cxn modelId="{B0F9BBE6-A832-4D80-835E-ACCF0E96AA08}" type="presParOf" srcId="{A49805BE-C9B6-4B1D-844D-DAF0B1AD8566}" destId="{E4D2591A-80D1-4F5F-ABDB-EB62F22AD203}" srcOrd="0" destOrd="0" presId="urn:microsoft.com/office/officeart/2005/8/layout/hierarchy2"/>
    <dgm:cxn modelId="{8E817EA3-2F9D-4E26-8930-43B40635DEB6}" type="presParOf" srcId="{971AB681-BD7C-4291-AE02-11967217D969}" destId="{D53ED68E-806E-4FB9-9173-A41F08989C30}" srcOrd="1" destOrd="0" presId="urn:microsoft.com/office/officeart/2005/8/layout/hierarchy2"/>
    <dgm:cxn modelId="{FC5360E5-18E0-47A9-BA99-622574AA79AD}" type="presParOf" srcId="{D53ED68E-806E-4FB9-9173-A41F08989C30}" destId="{8969B42D-6BC3-4B8A-936A-5F8A3F47BE5B}" srcOrd="0" destOrd="0" presId="urn:microsoft.com/office/officeart/2005/8/layout/hierarchy2"/>
    <dgm:cxn modelId="{85B45294-2A67-4119-A05E-42C4F7C8CBE5}" type="presParOf" srcId="{D53ED68E-806E-4FB9-9173-A41F08989C30}" destId="{8922CAB1-D6C5-4A28-9B75-A626E65EF6D9}" srcOrd="1" destOrd="0" presId="urn:microsoft.com/office/officeart/2005/8/layout/hierarchy2"/>
    <dgm:cxn modelId="{7D986B2F-0500-4058-A210-2EF9207F9949}" type="presParOf" srcId="{8922CAB1-D6C5-4A28-9B75-A626E65EF6D9}" destId="{3BECF918-4C3C-43E0-BF8A-E565DB2BF452}" srcOrd="0" destOrd="0" presId="urn:microsoft.com/office/officeart/2005/8/layout/hierarchy2"/>
    <dgm:cxn modelId="{89ADADF7-4C30-41FB-9253-20C0D1825597}" type="presParOf" srcId="{3BECF918-4C3C-43E0-BF8A-E565DB2BF452}" destId="{F42279E6-F0AF-42CD-B05C-E5BBB0D238BC}" srcOrd="0" destOrd="0" presId="urn:microsoft.com/office/officeart/2005/8/layout/hierarchy2"/>
    <dgm:cxn modelId="{BD97CDD4-A8EE-44DB-8DDB-055BAAFBD83C}" type="presParOf" srcId="{8922CAB1-D6C5-4A28-9B75-A626E65EF6D9}" destId="{16EB2D57-0F0A-421A-8B57-8F73B17CF7B5}" srcOrd="1" destOrd="0" presId="urn:microsoft.com/office/officeart/2005/8/layout/hierarchy2"/>
    <dgm:cxn modelId="{192BE4C3-FE52-4A36-BDC4-D25110A68ECB}" type="presParOf" srcId="{16EB2D57-0F0A-421A-8B57-8F73B17CF7B5}" destId="{FE716DB4-7587-49B7-809D-5F1386BB1CD6}" srcOrd="0" destOrd="0" presId="urn:microsoft.com/office/officeart/2005/8/layout/hierarchy2"/>
    <dgm:cxn modelId="{62633659-1FFB-445D-86F2-E40899630DD8}" type="presParOf" srcId="{16EB2D57-0F0A-421A-8B57-8F73B17CF7B5}" destId="{D3DE2682-A1D2-4AE1-AC6B-8F1CA760A1B5}" srcOrd="1" destOrd="0" presId="urn:microsoft.com/office/officeart/2005/8/layout/hierarchy2"/>
    <dgm:cxn modelId="{4D231408-1385-4EAF-80EE-2F1A149B7DFC}" type="presParOf" srcId="{D3DE2682-A1D2-4AE1-AC6B-8F1CA760A1B5}" destId="{3B9B0C84-CA2A-4B43-8B9F-23E48F48F101}" srcOrd="0" destOrd="0" presId="urn:microsoft.com/office/officeart/2005/8/layout/hierarchy2"/>
    <dgm:cxn modelId="{08E1CD06-E25B-4395-ACCA-1D129E686814}" type="presParOf" srcId="{3B9B0C84-CA2A-4B43-8B9F-23E48F48F101}" destId="{FEFB87AA-B9A6-44B1-AEC9-3771863FB7A4}" srcOrd="0" destOrd="0" presId="urn:microsoft.com/office/officeart/2005/8/layout/hierarchy2"/>
    <dgm:cxn modelId="{5C454A29-5336-49F9-B5CA-B8AFB6821729}" type="presParOf" srcId="{D3DE2682-A1D2-4AE1-AC6B-8F1CA760A1B5}" destId="{795505FA-D8DE-48D2-8AA1-265164B500CA}" srcOrd="1" destOrd="0" presId="urn:microsoft.com/office/officeart/2005/8/layout/hierarchy2"/>
    <dgm:cxn modelId="{CA9C7CF1-3EFB-49EF-975E-068B68B122F5}" type="presParOf" srcId="{795505FA-D8DE-48D2-8AA1-265164B500CA}" destId="{1EDE3657-9361-45D4-8779-221B86CB8224}" srcOrd="0" destOrd="0" presId="urn:microsoft.com/office/officeart/2005/8/layout/hierarchy2"/>
    <dgm:cxn modelId="{641DC7D7-2B91-4BFA-A16C-A5E8BD5E7163}" type="presParOf" srcId="{795505FA-D8DE-48D2-8AA1-265164B500CA}" destId="{F77E2F77-39E5-4BD0-82CB-FDE1E0EE62EE}" srcOrd="1" destOrd="0" presId="urn:microsoft.com/office/officeart/2005/8/layout/hierarchy2"/>
    <dgm:cxn modelId="{D579AF10-9BE7-4837-BCDD-B0C5B764EF20}" type="presParOf" srcId="{8922CAB1-D6C5-4A28-9B75-A626E65EF6D9}" destId="{2B6D0068-6FE3-4E8F-9B82-B843E2583135}" srcOrd="2" destOrd="0" presId="urn:microsoft.com/office/officeart/2005/8/layout/hierarchy2"/>
    <dgm:cxn modelId="{F7A0B48C-852D-44EB-9A79-46A62255BA88}" type="presParOf" srcId="{2B6D0068-6FE3-4E8F-9B82-B843E2583135}" destId="{F3C1857D-F576-438C-99DD-BE2F6F40EB6F}" srcOrd="0" destOrd="0" presId="urn:microsoft.com/office/officeart/2005/8/layout/hierarchy2"/>
    <dgm:cxn modelId="{B23E368D-1E20-4DF4-94A6-F89E12A819E6}" type="presParOf" srcId="{8922CAB1-D6C5-4A28-9B75-A626E65EF6D9}" destId="{5A3CD575-D74F-433D-8FFE-3DC26F21D393}" srcOrd="3" destOrd="0" presId="urn:microsoft.com/office/officeart/2005/8/layout/hierarchy2"/>
    <dgm:cxn modelId="{7D948DDA-0375-4709-AF36-34B9D0DB35A4}" type="presParOf" srcId="{5A3CD575-D74F-433D-8FFE-3DC26F21D393}" destId="{DE53E6FF-8053-4340-BBC3-BBFB0CB950E3}" srcOrd="0" destOrd="0" presId="urn:microsoft.com/office/officeart/2005/8/layout/hierarchy2"/>
    <dgm:cxn modelId="{088D34D9-17FE-4D20-8302-62D4967015ED}" type="presParOf" srcId="{5A3CD575-D74F-433D-8FFE-3DC26F21D393}" destId="{F374AF61-9A93-424E-9A2F-9CA11E3083BD}" srcOrd="1" destOrd="0" presId="urn:microsoft.com/office/officeart/2005/8/layout/hierarchy2"/>
    <dgm:cxn modelId="{C78BBECE-8675-430D-9DCD-586727EF7E99}" type="presParOf" srcId="{F374AF61-9A93-424E-9A2F-9CA11E3083BD}" destId="{9722A232-C995-43BC-92E2-A31941DEDBDC}" srcOrd="0" destOrd="0" presId="urn:microsoft.com/office/officeart/2005/8/layout/hierarchy2"/>
    <dgm:cxn modelId="{B6EFEA8A-580B-42EE-BFA5-E6C7F9FB4550}" type="presParOf" srcId="{9722A232-C995-43BC-92E2-A31941DEDBDC}" destId="{FBF51F1B-1645-4210-BAD1-37B7F3953B30}" srcOrd="0" destOrd="0" presId="urn:microsoft.com/office/officeart/2005/8/layout/hierarchy2"/>
    <dgm:cxn modelId="{6A11B39D-3449-4890-9E5A-7F861A127DB4}" type="presParOf" srcId="{F374AF61-9A93-424E-9A2F-9CA11E3083BD}" destId="{A62B6C0C-0C95-4022-BAFF-3BFB0388B811}" srcOrd="1" destOrd="0" presId="urn:microsoft.com/office/officeart/2005/8/layout/hierarchy2"/>
    <dgm:cxn modelId="{CC2BD01A-A189-4286-BF3C-F86DB314FC16}" type="presParOf" srcId="{A62B6C0C-0C95-4022-BAFF-3BFB0388B811}" destId="{90246D3B-7CFF-4286-B91D-370AB937192B}" srcOrd="0" destOrd="0" presId="urn:microsoft.com/office/officeart/2005/8/layout/hierarchy2"/>
    <dgm:cxn modelId="{7DEF89DE-2AFD-47FD-909E-C5EB13C402E9}" type="presParOf" srcId="{A62B6C0C-0C95-4022-BAFF-3BFB0388B811}" destId="{7C594E4B-9636-4B15-A2E6-0ABB1365BC23}" srcOrd="1" destOrd="0" presId="urn:microsoft.com/office/officeart/2005/8/layout/hierarchy2"/>
    <dgm:cxn modelId="{C6EEE44A-A5C7-41B3-93B9-FDF8F6439AA6}" type="presParOf" srcId="{971AB681-BD7C-4291-AE02-11967217D969}" destId="{C048F627-A16E-441F-BE95-82699C43DB92}" srcOrd="2" destOrd="0" presId="urn:microsoft.com/office/officeart/2005/8/layout/hierarchy2"/>
    <dgm:cxn modelId="{A1AFAFFC-62C5-4AB6-9B1A-55E1F0CA681F}" type="presParOf" srcId="{C048F627-A16E-441F-BE95-82699C43DB92}" destId="{0EF8B926-06FB-4F2B-B240-D9321F6743D1}" srcOrd="0" destOrd="0" presId="urn:microsoft.com/office/officeart/2005/8/layout/hierarchy2"/>
    <dgm:cxn modelId="{7DEBEBBE-DEBA-4307-AEEC-F0E277C90B6C}" type="presParOf" srcId="{971AB681-BD7C-4291-AE02-11967217D969}" destId="{86F849E1-FD0C-49CA-8437-B142209AD084}" srcOrd="3" destOrd="0" presId="urn:microsoft.com/office/officeart/2005/8/layout/hierarchy2"/>
    <dgm:cxn modelId="{A1F54F3D-A7F3-4EAA-B295-DC1D685C26CD}" type="presParOf" srcId="{86F849E1-FD0C-49CA-8437-B142209AD084}" destId="{DB0624BA-3CD6-4834-9F25-7EBE37F63C46}" srcOrd="0" destOrd="0" presId="urn:microsoft.com/office/officeart/2005/8/layout/hierarchy2"/>
    <dgm:cxn modelId="{B5C5EC48-843E-487E-91FE-AD8CCAC924B5}" type="presParOf" srcId="{86F849E1-FD0C-49CA-8437-B142209AD084}" destId="{0B1D1EC3-63FE-455F-B63C-CE4519EE2AC3}" srcOrd="1" destOrd="0" presId="urn:microsoft.com/office/officeart/2005/8/layout/hierarchy2"/>
    <dgm:cxn modelId="{42E8D4FB-F433-4807-B37B-1321AEF3AFE4}" type="presParOf" srcId="{0B1D1EC3-63FE-455F-B63C-CE4519EE2AC3}" destId="{EDC0D4A2-0AA7-41E9-B99B-8C152250EC05}" srcOrd="0" destOrd="0" presId="urn:microsoft.com/office/officeart/2005/8/layout/hierarchy2"/>
    <dgm:cxn modelId="{4CE88554-572F-41C1-9246-EEC0E20E0B35}" type="presParOf" srcId="{EDC0D4A2-0AA7-41E9-B99B-8C152250EC05}" destId="{359C9019-811F-45D6-9E46-EA0B63D05CEF}" srcOrd="0" destOrd="0" presId="urn:microsoft.com/office/officeart/2005/8/layout/hierarchy2"/>
    <dgm:cxn modelId="{8BAD430F-CF30-4BE6-BD50-B86AAB64510D}" type="presParOf" srcId="{0B1D1EC3-63FE-455F-B63C-CE4519EE2AC3}" destId="{B8AB448F-8E7F-4C80-9E64-2F39E96E53A0}" srcOrd="1" destOrd="0" presId="urn:microsoft.com/office/officeart/2005/8/layout/hierarchy2"/>
    <dgm:cxn modelId="{8D4B6D67-F0F8-4F79-B915-EEEC33A4DD95}" type="presParOf" srcId="{B8AB448F-8E7F-4C80-9E64-2F39E96E53A0}" destId="{76A8198E-A103-4ED6-8C85-2368D377D598}" srcOrd="0" destOrd="0" presId="urn:microsoft.com/office/officeart/2005/8/layout/hierarchy2"/>
    <dgm:cxn modelId="{0F4E65CB-F151-4193-BEBD-522ACCB86F08}" type="presParOf" srcId="{B8AB448F-8E7F-4C80-9E64-2F39E96E53A0}" destId="{10600C33-3C7D-4D72-8F72-3570B6A8C34F}" srcOrd="1" destOrd="0" presId="urn:microsoft.com/office/officeart/2005/8/layout/hierarchy2"/>
    <dgm:cxn modelId="{6CE1D522-404F-466D-8918-40A626F55B29}" type="presParOf" srcId="{91A61326-9538-492A-9AC2-BD3DD0E188B9}" destId="{6C9636C7-2499-4F2B-852A-AC08ABF57691}" srcOrd="2" destOrd="0" presId="urn:microsoft.com/office/officeart/2005/8/layout/hierarchy2"/>
    <dgm:cxn modelId="{A1617C10-AE0D-42CB-BB38-6D33791B077E}" type="presParOf" srcId="{6C9636C7-2499-4F2B-852A-AC08ABF57691}" destId="{8C85D2C7-3DA9-4A7E-9C3F-11423D9AD7EB}" srcOrd="0" destOrd="0" presId="urn:microsoft.com/office/officeart/2005/8/layout/hierarchy2"/>
    <dgm:cxn modelId="{680F960C-EE56-46E5-9690-AF2189968386}" type="presParOf" srcId="{91A61326-9538-492A-9AC2-BD3DD0E188B9}" destId="{4D0E5ADC-6D1D-4B1D-A05F-ECCEEADFA1D9}" srcOrd="3" destOrd="0" presId="urn:microsoft.com/office/officeart/2005/8/layout/hierarchy2"/>
    <dgm:cxn modelId="{2509D82A-0F7B-41EB-81D7-51D4CBA69714}" type="presParOf" srcId="{4D0E5ADC-6D1D-4B1D-A05F-ECCEEADFA1D9}" destId="{684602D2-1D85-4FF4-8913-BFFF9DD703E8}" srcOrd="0" destOrd="0" presId="urn:microsoft.com/office/officeart/2005/8/layout/hierarchy2"/>
    <dgm:cxn modelId="{18DACD6E-CE97-4BC2-A8DC-AE1591753965}" type="presParOf" srcId="{4D0E5ADC-6D1D-4B1D-A05F-ECCEEADFA1D9}" destId="{CAE1E0DF-964D-44B8-A168-92E419D98E84}" srcOrd="1" destOrd="0" presId="urn:microsoft.com/office/officeart/2005/8/layout/hierarchy2"/>
    <dgm:cxn modelId="{2E2AE450-0982-40B3-85CD-3FC58B5C70EA}" type="presParOf" srcId="{CAE1E0DF-964D-44B8-A168-92E419D98E84}" destId="{9FE69F9C-51EE-4341-8F5F-9CC37E67BEE2}" srcOrd="0" destOrd="0" presId="urn:microsoft.com/office/officeart/2005/8/layout/hierarchy2"/>
    <dgm:cxn modelId="{C25502E0-E45F-4A82-9788-51F09D231E84}" type="presParOf" srcId="{9FE69F9C-51EE-4341-8F5F-9CC37E67BEE2}" destId="{D90C403B-E1E3-4C27-8C4C-0E38D06A93AF}" srcOrd="0" destOrd="0" presId="urn:microsoft.com/office/officeart/2005/8/layout/hierarchy2"/>
    <dgm:cxn modelId="{3C6F0CB0-39AE-412F-9951-1285A6A2507C}" type="presParOf" srcId="{CAE1E0DF-964D-44B8-A168-92E419D98E84}" destId="{9A2E2C7D-8F0B-4799-A383-740F0166F414}" srcOrd="1" destOrd="0" presId="urn:microsoft.com/office/officeart/2005/8/layout/hierarchy2"/>
    <dgm:cxn modelId="{C1FD9E24-BD05-48A4-A04F-518FBEC3AA1C}" type="presParOf" srcId="{9A2E2C7D-8F0B-4799-A383-740F0166F414}" destId="{8454E545-8B1A-4930-A9A9-C602660A793D}" srcOrd="0" destOrd="0" presId="urn:microsoft.com/office/officeart/2005/8/layout/hierarchy2"/>
    <dgm:cxn modelId="{AE721425-C16F-4506-AD64-505570A9D9DC}" type="presParOf" srcId="{9A2E2C7D-8F0B-4799-A383-740F0166F414}" destId="{4F38B967-2699-4794-B9A9-9DFFC6B303DD}" srcOrd="1" destOrd="0" presId="urn:microsoft.com/office/officeart/2005/8/layout/hierarchy2"/>
    <dgm:cxn modelId="{6DE44210-FE93-4983-BFA3-D6A3F1A1737C}" type="presParOf" srcId="{4F38B967-2699-4794-B9A9-9DFFC6B303DD}" destId="{817C6FF2-65ED-4BA3-9B31-F6061CC281AD}" srcOrd="0" destOrd="0" presId="urn:microsoft.com/office/officeart/2005/8/layout/hierarchy2"/>
    <dgm:cxn modelId="{2BCF6BC5-00DD-4D5D-9B49-8E7F40B99B59}" type="presParOf" srcId="{817C6FF2-65ED-4BA3-9B31-F6061CC281AD}" destId="{4D5A1666-C37A-4F26-84BD-DD23793E895D}" srcOrd="0" destOrd="0" presId="urn:microsoft.com/office/officeart/2005/8/layout/hierarchy2"/>
    <dgm:cxn modelId="{BE474D9E-67D1-4233-8F90-6869E769118B}" type="presParOf" srcId="{4F38B967-2699-4794-B9A9-9DFFC6B303DD}" destId="{703D483A-3557-443F-BD60-344A388ED41D}" srcOrd="1" destOrd="0" presId="urn:microsoft.com/office/officeart/2005/8/layout/hierarchy2"/>
    <dgm:cxn modelId="{E2519E05-0082-4950-90AD-E2DECA46D59B}" type="presParOf" srcId="{703D483A-3557-443F-BD60-344A388ED41D}" destId="{CF03E51F-14B7-49E6-83FE-176353D8ECA8}" srcOrd="0" destOrd="0" presId="urn:microsoft.com/office/officeart/2005/8/layout/hierarchy2"/>
    <dgm:cxn modelId="{C6D96D2D-9E72-45C9-BD23-2299B6120BDC}" type="presParOf" srcId="{703D483A-3557-443F-BD60-344A388ED41D}" destId="{BAB597D0-EDD1-4E4C-AA18-494101235E7F}" srcOrd="1" destOrd="0" presId="urn:microsoft.com/office/officeart/2005/8/layout/hierarchy2"/>
    <dgm:cxn modelId="{90C69AB0-7EA0-46AA-9FE1-BA759F5554F4}" type="presParOf" srcId="{CAE1E0DF-964D-44B8-A168-92E419D98E84}" destId="{7C518A94-1528-4C35-B34E-3D2730B7BAA1}" srcOrd="2" destOrd="0" presId="urn:microsoft.com/office/officeart/2005/8/layout/hierarchy2"/>
    <dgm:cxn modelId="{877CD7F8-2616-4DF9-90BC-BF514AA19D5B}" type="presParOf" srcId="{7C518A94-1528-4C35-B34E-3D2730B7BAA1}" destId="{9153FE2B-610F-4C07-8D67-8D69CB1CC9CD}" srcOrd="0" destOrd="0" presId="urn:microsoft.com/office/officeart/2005/8/layout/hierarchy2"/>
    <dgm:cxn modelId="{08B34CA2-CB9B-4D26-8016-42BDE4A46C1D}" type="presParOf" srcId="{CAE1E0DF-964D-44B8-A168-92E419D98E84}" destId="{4ED6CA49-F441-4902-A77C-034561EA2945}" srcOrd="3" destOrd="0" presId="urn:microsoft.com/office/officeart/2005/8/layout/hierarchy2"/>
    <dgm:cxn modelId="{7E7E6951-A19F-4E54-95CA-B137B57F2763}" type="presParOf" srcId="{4ED6CA49-F441-4902-A77C-034561EA2945}" destId="{727EE19F-11FB-4DA9-88EF-6AEFD77BCF4A}" srcOrd="0" destOrd="0" presId="urn:microsoft.com/office/officeart/2005/8/layout/hierarchy2"/>
    <dgm:cxn modelId="{8E130B8C-9733-4A93-A445-5F95B236F003}" type="presParOf" srcId="{4ED6CA49-F441-4902-A77C-034561EA2945}" destId="{053B9F16-9660-4005-BA3C-300949F993EE}" srcOrd="1" destOrd="0" presId="urn:microsoft.com/office/officeart/2005/8/layout/hierarchy2"/>
    <dgm:cxn modelId="{B6F9F726-F8B1-4374-A435-62F0A8E59082}" type="presParOf" srcId="{053B9F16-9660-4005-BA3C-300949F993EE}" destId="{1466BECD-2692-4786-AD54-872B3C8C30CC}" srcOrd="0" destOrd="0" presId="urn:microsoft.com/office/officeart/2005/8/layout/hierarchy2"/>
    <dgm:cxn modelId="{B244EC95-C9CD-459F-AD68-07845B7F9C3F}" type="presParOf" srcId="{1466BECD-2692-4786-AD54-872B3C8C30CC}" destId="{3F5D9EDB-D09C-4B58-8528-A790A2E0C8FD}" srcOrd="0" destOrd="0" presId="urn:microsoft.com/office/officeart/2005/8/layout/hierarchy2"/>
    <dgm:cxn modelId="{12FD015B-3029-42F0-A1D4-CDF761E7E4AB}" type="presParOf" srcId="{053B9F16-9660-4005-BA3C-300949F993EE}" destId="{865E00D5-61D2-4423-9F0D-4653C5B53AFB}" srcOrd="1" destOrd="0" presId="urn:microsoft.com/office/officeart/2005/8/layout/hierarchy2"/>
    <dgm:cxn modelId="{6338561E-823D-4DDA-AC16-81DE3D342DD4}" type="presParOf" srcId="{865E00D5-61D2-4423-9F0D-4653C5B53AFB}" destId="{ABE652F6-97EC-42D9-8CD8-540BE506F0DE}" srcOrd="0" destOrd="0" presId="urn:microsoft.com/office/officeart/2005/8/layout/hierarchy2"/>
    <dgm:cxn modelId="{2A4C2139-E969-4DF6-A566-33CC818F0DE2}" type="presParOf" srcId="{865E00D5-61D2-4423-9F0D-4653C5B53AFB}" destId="{02F1C038-E2D2-4A09-BACD-C095D520CB6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D0601D-C30D-4A46-B353-97FCDE897D7B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D375F5CE-A497-4D94-9390-5EE001E771C4}">
      <dgm:prSet phldrT="[Text]"/>
      <dgm:spPr>
        <a:solidFill>
          <a:schemeClr val="bg1">
            <a:lumMod val="85000"/>
          </a:schemeClr>
        </a:solidFill>
        <a:ln w="12700"/>
      </dgm:spPr>
      <dgm:t>
        <a:bodyPr/>
        <a:lstStyle/>
        <a:p>
          <a:r>
            <a:rPr lang="en-US" err="1"/>
            <a:t>Utlandet</a:t>
          </a:r>
          <a:endParaRPr lang="en-US"/>
        </a:p>
      </dgm:t>
    </dgm:pt>
    <dgm:pt modelId="{28ED2A10-62B8-4F91-A0D5-E8DDD577CF53}" type="parTrans" cxnId="{801F48D6-E2FC-4772-A1EA-58CBD12167FA}">
      <dgm:prSet/>
      <dgm:spPr/>
      <dgm:t>
        <a:bodyPr/>
        <a:lstStyle/>
        <a:p>
          <a:endParaRPr lang="en-US"/>
        </a:p>
      </dgm:t>
    </dgm:pt>
    <dgm:pt modelId="{A4C253F0-248F-4B08-8EFE-AF7FA629F822}" type="sibTrans" cxnId="{801F48D6-E2FC-4772-A1EA-58CBD12167FA}">
      <dgm:prSet/>
      <dgm:spPr/>
      <dgm:t>
        <a:bodyPr/>
        <a:lstStyle/>
        <a:p>
          <a:endParaRPr lang="en-US"/>
        </a:p>
      </dgm:t>
    </dgm:pt>
    <dgm:pt modelId="{308731A1-30B3-44B7-8C14-ED5DEA652356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Vare</a:t>
          </a:r>
          <a:endParaRPr lang="en-US"/>
        </a:p>
      </dgm:t>
    </dgm:pt>
    <dgm:pt modelId="{779A652F-6E2E-448F-B989-231B13B490F9}" type="parTrans" cxnId="{F2144CA0-B2A1-46B8-BB0B-D3F1E2B47504}">
      <dgm:prSet/>
      <dgm:spPr>
        <a:ln w="12700"/>
      </dgm:spPr>
      <dgm:t>
        <a:bodyPr/>
        <a:lstStyle/>
        <a:p>
          <a:endParaRPr lang="en-US"/>
        </a:p>
      </dgm:t>
    </dgm:pt>
    <dgm:pt modelId="{CB08FA17-C73C-49DE-A0C2-523942C96612}" type="sibTrans" cxnId="{F2144CA0-B2A1-46B8-BB0B-D3F1E2B47504}">
      <dgm:prSet/>
      <dgm:spPr/>
      <dgm:t>
        <a:bodyPr/>
        <a:lstStyle/>
        <a:p>
          <a:endParaRPr lang="en-US"/>
        </a:p>
      </dgm:t>
    </dgm:pt>
    <dgm:pt modelId="{8C22994A-6C87-4778-9604-B44579DA5A64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Uten</a:t>
          </a:r>
          <a:r>
            <a:rPr lang="en-US"/>
            <a:t> </a:t>
          </a:r>
          <a:r>
            <a:rPr lang="en-US" err="1"/>
            <a:t>fradrag</a:t>
          </a:r>
          <a:endParaRPr lang="en-US"/>
        </a:p>
      </dgm:t>
    </dgm:pt>
    <dgm:pt modelId="{2271F7E3-6999-477A-9E6B-CE18D66C7D37}" type="parTrans" cxnId="{27B9C99B-10A2-4803-9CA1-40F65D5D8D05}">
      <dgm:prSet/>
      <dgm:spPr>
        <a:ln w="12700"/>
      </dgm:spPr>
      <dgm:t>
        <a:bodyPr/>
        <a:lstStyle/>
        <a:p>
          <a:endParaRPr lang="en-US"/>
        </a:p>
      </dgm:t>
    </dgm:pt>
    <dgm:pt modelId="{1AB1CF33-DBFD-4FA1-B515-195918D7E4D1}" type="sibTrans" cxnId="{27B9C99B-10A2-4803-9CA1-40F65D5D8D05}">
      <dgm:prSet/>
      <dgm:spPr/>
      <dgm:t>
        <a:bodyPr/>
        <a:lstStyle/>
        <a:p>
          <a:endParaRPr lang="en-US"/>
        </a:p>
      </dgm:t>
    </dgm:pt>
    <dgm:pt modelId="{AA68AE02-CD46-4B96-BBDA-05B734CBAFE6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Med </a:t>
          </a:r>
          <a:r>
            <a:rPr lang="en-US" err="1"/>
            <a:t>fradrag</a:t>
          </a:r>
          <a:endParaRPr lang="en-US"/>
        </a:p>
      </dgm:t>
    </dgm:pt>
    <dgm:pt modelId="{50D4A3EC-0BEF-437A-885C-333ACB2621B0}" type="parTrans" cxnId="{7221D051-7A18-4DCF-9CAB-F831E19DEACE}">
      <dgm:prSet/>
      <dgm:spPr>
        <a:ln w="12700"/>
      </dgm:spPr>
      <dgm:t>
        <a:bodyPr/>
        <a:lstStyle/>
        <a:p>
          <a:endParaRPr lang="en-US"/>
        </a:p>
      </dgm:t>
    </dgm:pt>
    <dgm:pt modelId="{36B5CB08-036B-45C9-B10E-1C6C7002F38A}" type="sibTrans" cxnId="{7221D051-7A18-4DCF-9CAB-F831E19DEACE}">
      <dgm:prSet/>
      <dgm:spPr/>
      <dgm:t>
        <a:bodyPr/>
        <a:lstStyle/>
        <a:p>
          <a:endParaRPr lang="en-US"/>
        </a:p>
      </dgm:t>
    </dgm:pt>
    <dgm:pt modelId="{DFDF8DFB-770E-4F5E-A138-A3CE78F2022C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Med </a:t>
          </a:r>
          <a:r>
            <a:rPr lang="en-US" err="1"/>
            <a:t>fradrag</a:t>
          </a:r>
          <a:endParaRPr lang="en-US"/>
        </a:p>
      </dgm:t>
    </dgm:pt>
    <dgm:pt modelId="{9BCA0F40-571B-4379-BB74-2CD9E61040D1}" type="parTrans" cxnId="{BC17D1E9-DA7E-41AF-9EAA-6DCBE5CA7629}">
      <dgm:prSet/>
      <dgm:spPr>
        <a:ln w="12700"/>
      </dgm:spPr>
      <dgm:t>
        <a:bodyPr/>
        <a:lstStyle/>
        <a:p>
          <a:endParaRPr lang="en-US"/>
        </a:p>
      </dgm:t>
    </dgm:pt>
    <dgm:pt modelId="{A0709CB2-193D-4FF2-A1FE-0AA21646369B}" type="sibTrans" cxnId="{BC17D1E9-DA7E-41AF-9EAA-6DCBE5CA7629}">
      <dgm:prSet/>
      <dgm:spPr/>
      <dgm:t>
        <a:bodyPr/>
        <a:lstStyle/>
        <a:p>
          <a:endParaRPr lang="en-US"/>
        </a:p>
      </dgm:t>
    </dgm:pt>
    <dgm:pt modelId="{EBBD4A29-A00C-40FF-9EEF-029505AA1317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Uten</a:t>
          </a:r>
          <a:r>
            <a:rPr lang="en-US"/>
            <a:t> </a:t>
          </a:r>
          <a:r>
            <a:rPr lang="en-US" err="1"/>
            <a:t>fradrag</a:t>
          </a:r>
          <a:endParaRPr lang="en-US"/>
        </a:p>
      </dgm:t>
    </dgm:pt>
    <dgm:pt modelId="{7A0A8722-618C-49BB-928E-90E432D27A95}" type="parTrans" cxnId="{CEDE3F71-D7B5-4C86-9C64-C53D9F09A762}">
      <dgm:prSet/>
      <dgm:spPr>
        <a:ln w="12700"/>
      </dgm:spPr>
      <dgm:t>
        <a:bodyPr/>
        <a:lstStyle/>
        <a:p>
          <a:endParaRPr lang="en-US"/>
        </a:p>
      </dgm:t>
    </dgm:pt>
    <dgm:pt modelId="{5E35DC17-E949-4DB6-BD65-D665C3778283}" type="sibTrans" cxnId="{CEDE3F71-D7B5-4C86-9C64-C53D9F09A762}">
      <dgm:prSet/>
      <dgm:spPr/>
      <dgm:t>
        <a:bodyPr/>
        <a:lstStyle/>
        <a:p>
          <a:endParaRPr lang="en-US"/>
        </a:p>
      </dgm:t>
    </dgm:pt>
    <dgm:pt modelId="{E34F46F6-202B-41D2-A438-F74B9032655E}">
      <dgm:prSet phldrT="[Text]"/>
      <dgm:spPr>
        <a:solidFill>
          <a:srgbClr val="92D050"/>
        </a:solidFill>
        <a:ln w="12700"/>
      </dgm:spPr>
      <dgm:t>
        <a:bodyPr/>
        <a:lstStyle/>
        <a:p>
          <a:r>
            <a:rPr lang="en-US"/>
            <a:t>20 = 25%</a:t>
          </a:r>
        </a:p>
        <a:p>
          <a:r>
            <a:rPr lang="en-US"/>
            <a:t>27 = 15%</a:t>
          </a:r>
        </a:p>
      </dgm:t>
    </dgm:pt>
    <dgm:pt modelId="{69E257A6-B7E3-4F77-BFE3-3104A96745D3}" type="parTrans" cxnId="{35E0DF0B-7FC4-4057-8863-39AE33ED14A9}">
      <dgm:prSet/>
      <dgm:spPr>
        <a:ln w="12700"/>
      </dgm:spPr>
      <dgm:t>
        <a:bodyPr/>
        <a:lstStyle/>
        <a:p>
          <a:endParaRPr lang="en-US"/>
        </a:p>
      </dgm:t>
    </dgm:pt>
    <dgm:pt modelId="{AA118AAE-2995-46C1-8B41-F8783047C8A8}" type="sibTrans" cxnId="{35E0DF0B-7FC4-4057-8863-39AE33ED14A9}">
      <dgm:prSet/>
      <dgm:spPr/>
      <dgm:t>
        <a:bodyPr/>
        <a:lstStyle/>
        <a:p>
          <a:endParaRPr lang="en-US"/>
        </a:p>
      </dgm:t>
    </dgm:pt>
    <dgm:pt modelId="{ED397C4B-3FF8-43C7-AFB2-943BA49DFDFA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pPr algn="ctr"/>
          <a:r>
            <a:rPr lang="en-US"/>
            <a:t>21 = 25%</a:t>
          </a:r>
          <a:br>
            <a:rPr lang="en-US"/>
          </a:br>
          <a:r>
            <a:rPr lang="en-US"/>
            <a:t>22 = 15%</a:t>
          </a:r>
          <a:br>
            <a:rPr lang="en-US"/>
          </a:br>
          <a:r>
            <a:rPr lang="en-US"/>
            <a:t>23 =  0% </a:t>
          </a:r>
        </a:p>
      </dgm:t>
    </dgm:pt>
    <dgm:pt modelId="{C7D2BF5F-2160-4F1B-B9A0-756EE86FBACD}" type="parTrans" cxnId="{BB49F375-5060-470A-AAC6-112E578717C2}">
      <dgm:prSet/>
      <dgm:spPr>
        <a:ln w="12700"/>
      </dgm:spPr>
      <dgm:t>
        <a:bodyPr/>
        <a:lstStyle/>
        <a:p>
          <a:endParaRPr lang="en-US"/>
        </a:p>
      </dgm:t>
    </dgm:pt>
    <dgm:pt modelId="{C76DA601-EA3F-4C9D-B814-35B50D7D03B6}" type="sibTrans" cxnId="{BB49F375-5060-470A-AAC6-112E578717C2}">
      <dgm:prSet/>
      <dgm:spPr/>
      <dgm:t>
        <a:bodyPr/>
        <a:lstStyle/>
        <a:p>
          <a:endParaRPr lang="en-US"/>
        </a:p>
      </dgm:t>
    </dgm:pt>
    <dgm:pt modelId="{C6637FEE-0FB3-4532-9487-5671AB3452D8}">
      <dgm:prSet phldrT="[Text]"/>
      <dgm:spPr>
        <a:solidFill>
          <a:srgbClr val="92D050"/>
        </a:solidFill>
        <a:ln w="12700"/>
      </dgm:spPr>
      <dgm:t>
        <a:bodyPr/>
        <a:lstStyle/>
        <a:p>
          <a:r>
            <a:rPr lang="en-US"/>
            <a:t>3T = 25%</a:t>
          </a:r>
        </a:p>
      </dgm:t>
    </dgm:pt>
    <dgm:pt modelId="{61CD98B8-BB6B-43E5-9694-D2D6A47291C4}" type="parTrans" cxnId="{E015E535-DCC8-4F8D-8133-EC70A53A424C}">
      <dgm:prSet/>
      <dgm:spPr>
        <a:ln w="12700"/>
      </dgm:spPr>
      <dgm:t>
        <a:bodyPr/>
        <a:lstStyle/>
        <a:p>
          <a:endParaRPr lang="en-US"/>
        </a:p>
      </dgm:t>
    </dgm:pt>
    <dgm:pt modelId="{9F79561A-1249-4B59-82E7-D6EB136C2D54}" type="sibTrans" cxnId="{E015E535-DCC8-4F8D-8133-EC70A53A424C}">
      <dgm:prSet/>
      <dgm:spPr/>
      <dgm:t>
        <a:bodyPr/>
        <a:lstStyle/>
        <a:p>
          <a:endParaRPr lang="en-US"/>
        </a:p>
      </dgm:t>
    </dgm:pt>
    <dgm:pt modelId="{C63AE13D-85E7-467D-AED1-013EEC04FE7D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3F = 25%</a:t>
          </a:r>
        </a:p>
      </dgm:t>
    </dgm:pt>
    <dgm:pt modelId="{25DBA565-CA7D-43F7-B564-1B0823D4FE79}" type="parTrans" cxnId="{2BA70B5B-707F-4EBA-9FBB-175B1941E771}">
      <dgm:prSet/>
      <dgm:spPr>
        <a:ln w="12700"/>
      </dgm:spPr>
      <dgm:t>
        <a:bodyPr/>
        <a:lstStyle/>
        <a:p>
          <a:endParaRPr lang="en-US"/>
        </a:p>
      </dgm:t>
    </dgm:pt>
    <dgm:pt modelId="{A5D38088-E471-45CF-AD1A-233067B8677A}" type="sibTrans" cxnId="{2BA70B5B-707F-4EBA-9FBB-175B1941E771}">
      <dgm:prSet/>
      <dgm:spPr/>
      <dgm:t>
        <a:bodyPr/>
        <a:lstStyle/>
        <a:p>
          <a:endParaRPr lang="en-US"/>
        </a:p>
      </dgm:t>
    </dgm:pt>
    <dgm:pt modelId="{E8E97BA4-3E81-4BF2-B2BF-55FCE0202493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Tjeneste</a:t>
          </a:r>
          <a:endParaRPr lang="en-US"/>
        </a:p>
      </dgm:t>
    </dgm:pt>
    <dgm:pt modelId="{82337CAD-4F84-4CAA-BE0A-F910E654E021}" type="sibTrans" cxnId="{D04A2E9C-DAAF-4F79-84F8-D463637627A1}">
      <dgm:prSet/>
      <dgm:spPr/>
      <dgm:t>
        <a:bodyPr/>
        <a:lstStyle/>
        <a:p>
          <a:endParaRPr lang="en-US"/>
        </a:p>
      </dgm:t>
    </dgm:pt>
    <dgm:pt modelId="{E0F2D951-7FB4-46EC-9AC0-17CD94E674E8}" type="parTrans" cxnId="{D04A2E9C-DAAF-4F79-84F8-D463637627A1}">
      <dgm:prSet/>
      <dgm:spPr>
        <a:ln w="12700"/>
      </dgm:spPr>
      <dgm:t>
        <a:bodyPr/>
        <a:lstStyle/>
        <a:p>
          <a:endParaRPr lang="en-US"/>
        </a:p>
      </dgm:t>
    </dgm:pt>
    <dgm:pt modelId="{421FE84E-E313-451F-953E-B3C36BC18FAE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0 = 0%</a:t>
          </a:r>
        </a:p>
      </dgm:t>
    </dgm:pt>
    <dgm:pt modelId="{0FE0AC1B-BFC7-4CD1-ADE1-1E1DA45E6DCB}" type="parTrans" cxnId="{55E24F00-8B0A-4AB3-B451-4B1F63F5D288}">
      <dgm:prSet/>
      <dgm:spPr>
        <a:ln w="12700"/>
      </dgm:spPr>
      <dgm:t>
        <a:bodyPr/>
        <a:lstStyle/>
        <a:p>
          <a:endParaRPr lang="nb-NO"/>
        </a:p>
      </dgm:t>
    </dgm:pt>
    <dgm:pt modelId="{A39A2044-7A95-4E75-A0BE-560063127F7D}" type="sibTrans" cxnId="{55E24F00-8B0A-4AB3-B451-4B1F63F5D288}">
      <dgm:prSet/>
      <dgm:spPr/>
      <dgm:t>
        <a:bodyPr/>
        <a:lstStyle/>
        <a:p>
          <a:endParaRPr lang="nb-NO"/>
        </a:p>
      </dgm:t>
    </dgm:pt>
    <dgm:pt modelId="{D2867E43-37D7-408A-B4F5-FC01CB6C8F6C}">
      <dgm:prSet phldrT="[Text]" custT="1"/>
      <dgm:spPr>
        <a:solidFill>
          <a:srgbClr val="B6C8E9">
            <a:lumMod val="20000"/>
            <a:lumOff val="80000"/>
          </a:srgbClr>
        </a:solidFill>
        <a:ln w="12700" cap="flat" cmpd="sng" algn="ctr">
          <a:solidFill>
            <a:scrgbClr r="0" g="0" b="0"/>
          </a:solidFill>
          <a:prstDash val="solid"/>
        </a:ln>
        <a:effectLst/>
      </dgm:spPr>
      <dgm:t>
        <a:bodyPr spcFirstLastPara="0" vert="horz" wrap="square" lIns="9525" tIns="9525" rIns="9525" bIns="9525" numCol="1" spcCol="1270" anchor="ctr" anchorCtr="0"/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0 = 0%</a:t>
          </a:r>
        </a:p>
      </dgm:t>
    </dgm:pt>
    <dgm:pt modelId="{9A587C6F-F327-4560-88A4-DF880861B664}" type="parTrans" cxnId="{C4447B61-DBFE-43A6-9F80-BF7A12305C49}">
      <dgm:prSet/>
      <dgm:spPr>
        <a:ln w="12700"/>
      </dgm:spPr>
      <dgm:t>
        <a:bodyPr/>
        <a:lstStyle/>
        <a:p>
          <a:endParaRPr lang="nb-NO"/>
        </a:p>
      </dgm:t>
    </dgm:pt>
    <dgm:pt modelId="{DD9CDDEA-BD6B-4E58-A643-BAC1269E7CEF}" type="sibTrans" cxnId="{C4447B61-DBFE-43A6-9F80-BF7A12305C49}">
      <dgm:prSet/>
      <dgm:spPr/>
      <dgm:t>
        <a:bodyPr/>
        <a:lstStyle/>
        <a:p>
          <a:endParaRPr lang="nb-NO"/>
        </a:p>
      </dgm:t>
    </dgm:pt>
    <dgm:pt modelId="{D5D6806D-4546-485C-B52C-9C040D48B893}" type="pres">
      <dgm:prSet presAssocID="{A9D0601D-C30D-4A46-B353-97FCDE897D7B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89F1F21-A5C4-45FE-B012-DA4D0B972B0B}" type="pres">
      <dgm:prSet presAssocID="{D375F5CE-A497-4D94-9390-5EE001E771C4}" presName="root1" presStyleCnt="0"/>
      <dgm:spPr/>
    </dgm:pt>
    <dgm:pt modelId="{0125BD50-D79D-4CC3-9755-0DA3E2D8E3FD}" type="pres">
      <dgm:prSet presAssocID="{D375F5CE-A497-4D94-9390-5EE001E771C4}" presName="LevelOneTextNode" presStyleLbl="node0" presStyleIdx="0" presStyleCnt="1" custLinFactNeighborX="-210" custLinFactNeighborY="-2251">
        <dgm:presLayoutVars>
          <dgm:chPref val="3"/>
        </dgm:presLayoutVars>
      </dgm:prSet>
      <dgm:spPr/>
    </dgm:pt>
    <dgm:pt modelId="{C0F8C703-F2D5-4D25-9D76-3B5B90F59A28}" type="pres">
      <dgm:prSet presAssocID="{D375F5CE-A497-4D94-9390-5EE001E771C4}" presName="level2hierChild" presStyleCnt="0"/>
      <dgm:spPr/>
    </dgm:pt>
    <dgm:pt modelId="{D93CA1E7-1E9E-40F3-BD60-501BD0921ADB}" type="pres">
      <dgm:prSet presAssocID="{779A652F-6E2E-448F-B989-231B13B490F9}" presName="conn2-1" presStyleLbl="parChTrans1D2" presStyleIdx="0" presStyleCnt="2"/>
      <dgm:spPr/>
    </dgm:pt>
    <dgm:pt modelId="{C445F999-041F-4752-9E41-2E18A531AD57}" type="pres">
      <dgm:prSet presAssocID="{779A652F-6E2E-448F-B989-231B13B490F9}" presName="connTx" presStyleLbl="parChTrans1D2" presStyleIdx="0" presStyleCnt="2"/>
      <dgm:spPr/>
    </dgm:pt>
    <dgm:pt modelId="{8B8CAF1F-38B0-4032-8798-86DFCF8F8F8D}" type="pres">
      <dgm:prSet presAssocID="{308731A1-30B3-44B7-8C14-ED5DEA652356}" presName="root2" presStyleCnt="0"/>
      <dgm:spPr/>
    </dgm:pt>
    <dgm:pt modelId="{18E32922-F51C-40B9-BC52-EAC7F334A273}" type="pres">
      <dgm:prSet presAssocID="{308731A1-30B3-44B7-8C14-ED5DEA652356}" presName="LevelTwoTextNode" presStyleLbl="node2" presStyleIdx="0" presStyleCnt="2">
        <dgm:presLayoutVars>
          <dgm:chPref val="3"/>
        </dgm:presLayoutVars>
      </dgm:prSet>
      <dgm:spPr/>
    </dgm:pt>
    <dgm:pt modelId="{D5702D07-435B-4D9D-BC30-F5CE4FF4F608}" type="pres">
      <dgm:prSet presAssocID="{308731A1-30B3-44B7-8C14-ED5DEA652356}" presName="level3hierChild" presStyleCnt="0"/>
      <dgm:spPr/>
    </dgm:pt>
    <dgm:pt modelId="{25A113C8-8072-43F9-89D4-9ED32583A830}" type="pres">
      <dgm:prSet presAssocID="{2271F7E3-6999-477A-9E6B-CE18D66C7D37}" presName="conn2-1" presStyleLbl="parChTrans1D3" presStyleIdx="0" presStyleCnt="4"/>
      <dgm:spPr/>
    </dgm:pt>
    <dgm:pt modelId="{B6A6DF98-94CC-4CDB-8912-43FA13112CF3}" type="pres">
      <dgm:prSet presAssocID="{2271F7E3-6999-477A-9E6B-CE18D66C7D37}" presName="connTx" presStyleLbl="parChTrans1D3" presStyleIdx="0" presStyleCnt="4"/>
      <dgm:spPr/>
    </dgm:pt>
    <dgm:pt modelId="{E18C6BC4-CAC3-4FD3-BFA7-3577D40E96B7}" type="pres">
      <dgm:prSet presAssocID="{8C22994A-6C87-4778-9604-B44579DA5A64}" presName="root2" presStyleCnt="0"/>
      <dgm:spPr/>
    </dgm:pt>
    <dgm:pt modelId="{03F1BF70-1109-4C0A-A4E7-965962B6CD26}" type="pres">
      <dgm:prSet presAssocID="{8C22994A-6C87-4778-9604-B44579DA5A64}" presName="LevelTwoTextNode" presStyleLbl="node3" presStyleIdx="0" presStyleCnt="4">
        <dgm:presLayoutVars>
          <dgm:chPref val="3"/>
        </dgm:presLayoutVars>
      </dgm:prSet>
      <dgm:spPr/>
    </dgm:pt>
    <dgm:pt modelId="{4A8CD520-4CD8-4242-B75E-1F8D61F2374C}" type="pres">
      <dgm:prSet presAssocID="{8C22994A-6C87-4778-9604-B44579DA5A64}" presName="level3hierChild" presStyleCnt="0"/>
      <dgm:spPr/>
    </dgm:pt>
    <dgm:pt modelId="{3A41823B-86F3-406F-A054-374247C2ECAB}" type="pres">
      <dgm:prSet presAssocID="{69E257A6-B7E3-4F77-BFE3-3104A96745D3}" presName="conn2-1" presStyleLbl="parChTrans1D4" presStyleIdx="0" presStyleCnt="6"/>
      <dgm:spPr/>
    </dgm:pt>
    <dgm:pt modelId="{C3E950BE-1303-4C53-AB68-D937916DB24A}" type="pres">
      <dgm:prSet presAssocID="{69E257A6-B7E3-4F77-BFE3-3104A96745D3}" presName="connTx" presStyleLbl="parChTrans1D4" presStyleIdx="0" presStyleCnt="6"/>
      <dgm:spPr/>
    </dgm:pt>
    <dgm:pt modelId="{79AEA70B-7B81-4B89-9A14-00EEA75B0DC0}" type="pres">
      <dgm:prSet presAssocID="{E34F46F6-202B-41D2-A438-F74B9032655E}" presName="root2" presStyleCnt="0"/>
      <dgm:spPr/>
    </dgm:pt>
    <dgm:pt modelId="{79A8959C-0267-4FB7-8B78-A9B4D9B32B12}" type="pres">
      <dgm:prSet presAssocID="{E34F46F6-202B-41D2-A438-F74B9032655E}" presName="LevelTwoTextNode" presStyleLbl="node4" presStyleIdx="0" presStyleCnt="6">
        <dgm:presLayoutVars>
          <dgm:chPref val="3"/>
        </dgm:presLayoutVars>
      </dgm:prSet>
      <dgm:spPr/>
    </dgm:pt>
    <dgm:pt modelId="{C4F6D3F2-ACCD-429D-B4C1-77BF1034DF7A}" type="pres">
      <dgm:prSet presAssocID="{E34F46F6-202B-41D2-A438-F74B9032655E}" presName="level3hierChild" presStyleCnt="0"/>
      <dgm:spPr/>
    </dgm:pt>
    <dgm:pt modelId="{547094B5-6C7F-4543-AC5F-6BB8797E1833}" type="pres">
      <dgm:prSet presAssocID="{0FE0AC1B-BFC7-4CD1-ADE1-1E1DA45E6DCB}" presName="conn2-1" presStyleLbl="parChTrans1D4" presStyleIdx="1" presStyleCnt="6"/>
      <dgm:spPr/>
    </dgm:pt>
    <dgm:pt modelId="{59EC2DE5-BDF2-4775-A244-9FF0B18A3C90}" type="pres">
      <dgm:prSet presAssocID="{0FE0AC1B-BFC7-4CD1-ADE1-1E1DA45E6DCB}" presName="connTx" presStyleLbl="parChTrans1D4" presStyleIdx="1" presStyleCnt="6"/>
      <dgm:spPr/>
    </dgm:pt>
    <dgm:pt modelId="{CC54CACD-6B01-4CA1-BAD9-0852ABE5D297}" type="pres">
      <dgm:prSet presAssocID="{421FE84E-E313-451F-953E-B3C36BC18FAE}" presName="root2" presStyleCnt="0"/>
      <dgm:spPr/>
    </dgm:pt>
    <dgm:pt modelId="{B850CD55-517E-4C23-963D-66006E75A232}" type="pres">
      <dgm:prSet presAssocID="{421FE84E-E313-451F-953E-B3C36BC18FAE}" presName="LevelTwoTextNode" presStyleLbl="node4" presStyleIdx="1" presStyleCnt="6">
        <dgm:presLayoutVars>
          <dgm:chPref val="3"/>
        </dgm:presLayoutVars>
      </dgm:prSet>
      <dgm:spPr/>
    </dgm:pt>
    <dgm:pt modelId="{29CBD5C1-89D6-455A-A421-473A02511FA7}" type="pres">
      <dgm:prSet presAssocID="{421FE84E-E313-451F-953E-B3C36BC18FAE}" presName="level3hierChild" presStyleCnt="0"/>
      <dgm:spPr/>
    </dgm:pt>
    <dgm:pt modelId="{E0A73A1B-2B97-45BA-8A57-D9AA1DC86B87}" type="pres">
      <dgm:prSet presAssocID="{50D4A3EC-0BEF-437A-885C-333ACB2621B0}" presName="conn2-1" presStyleLbl="parChTrans1D3" presStyleIdx="1" presStyleCnt="4"/>
      <dgm:spPr/>
    </dgm:pt>
    <dgm:pt modelId="{24301EE5-773A-4EC5-97F6-0F6283266BB0}" type="pres">
      <dgm:prSet presAssocID="{50D4A3EC-0BEF-437A-885C-333ACB2621B0}" presName="connTx" presStyleLbl="parChTrans1D3" presStyleIdx="1" presStyleCnt="4"/>
      <dgm:spPr/>
    </dgm:pt>
    <dgm:pt modelId="{962D2993-1380-4C76-8F42-BAD25244E043}" type="pres">
      <dgm:prSet presAssocID="{AA68AE02-CD46-4B96-BBDA-05B734CBAFE6}" presName="root2" presStyleCnt="0"/>
      <dgm:spPr/>
    </dgm:pt>
    <dgm:pt modelId="{FB5F17FA-01F3-4DCE-AFEF-3373A9A37BF6}" type="pres">
      <dgm:prSet presAssocID="{AA68AE02-CD46-4B96-BBDA-05B734CBAFE6}" presName="LevelTwoTextNode" presStyleLbl="node3" presStyleIdx="1" presStyleCnt="4">
        <dgm:presLayoutVars>
          <dgm:chPref val="3"/>
        </dgm:presLayoutVars>
      </dgm:prSet>
      <dgm:spPr/>
    </dgm:pt>
    <dgm:pt modelId="{22FEB322-5F0D-4D34-B738-D814B52298B0}" type="pres">
      <dgm:prSet presAssocID="{AA68AE02-CD46-4B96-BBDA-05B734CBAFE6}" presName="level3hierChild" presStyleCnt="0"/>
      <dgm:spPr/>
    </dgm:pt>
    <dgm:pt modelId="{40279CE7-C3F4-4DF6-A02A-837932E68076}" type="pres">
      <dgm:prSet presAssocID="{C7D2BF5F-2160-4F1B-B9A0-756EE86FBACD}" presName="conn2-1" presStyleLbl="parChTrans1D4" presStyleIdx="2" presStyleCnt="6"/>
      <dgm:spPr/>
    </dgm:pt>
    <dgm:pt modelId="{BE2E24FD-6A47-4483-91E5-04F976C4214A}" type="pres">
      <dgm:prSet presAssocID="{C7D2BF5F-2160-4F1B-B9A0-756EE86FBACD}" presName="connTx" presStyleLbl="parChTrans1D4" presStyleIdx="2" presStyleCnt="6"/>
      <dgm:spPr/>
    </dgm:pt>
    <dgm:pt modelId="{89A315E4-6F3C-4092-AD49-E3BB44110323}" type="pres">
      <dgm:prSet presAssocID="{ED397C4B-3FF8-43C7-AFB2-943BA49DFDFA}" presName="root2" presStyleCnt="0"/>
      <dgm:spPr/>
    </dgm:pt>
    <dgm:pt modelId="{35148660-7C1E-4AB3-94A2-9D39BDC2272C}" type="pres">
      <dgm:prSet presAssocID="{ED397C4B-3FF8-43C7-AFB2-943BA49DFDFA}" presName="LevelTwoTextNode" presStyleLbl="node4" presStyleIdx="2" presStyleCnt="6">
        <dgm:presLayoutVars>
          <dgm:chPref val="3"/>
        </dgm:presLayoutVars>
      </dgm:prSet>
      <dgm:spPr/>
    </dgm:pt>
    <dgm:pt modelId="{A5017805-8B03-4B07-A3F9-37DD0A3CC470}" type="pres">
      <dgm:prSet presAssocID="{ED397C4B-3FF8-43C7-AFB2-943BA49DFDFA}" presName="level3hierChild" presStyleCnt="0"/>
      <dgm:spPr/>
    </dgm:pt>
    <dgm:pt modelId="{06917447-A603-4E65-9FC2-D499E1F092C8}" type="pres">
      <dgm:prSet presAssocID="{E0F2D951-7FB4-46EC-9AC0-17CD94E674E8}" presName="conn2-1" presStyleLbl="parChTrans1D2" presStyleIdx="1" presStyleCnt="2"/>
      <dgm:spPr/>
    </dgm:pt>
    <dgm:pt modelId="{90E16EEE-6BA0-4943-8A4D-5314DC0B9FBE}" type="pres">
      <dgm:prSet presAssocID="{E0F2D951-7FB4-46EC-9AC0-17CD94E674E8}" presName="connTx" presStyleLbl="parChTrans1D2" presStyleIdx="1" presStyleCnt="2"/>
      <dgm:spPr/>
    </dgm:pt>
    <dgm:pt modelId="{6DB120CB-5862-4C84-9EE0-7CC842349CAA}" type="pres">
      <dgm:prSet presAssocID="{E8E97BA4-3E81-4BF2-B2BF-55FCE0202493}" presName="root2" presStyleCnt="0"/>
      <dgm:spPr/>
    </dgm:pt>
    <dgm:pt modelId="{12149BDC-7429-4A3D-9F11-5B0D56CBA094}" type="pres">
      <dgm:prSet presAssocID="{E8E97BA4-3E81-4BF2-B2BF-55FCE0202493}" presName="LevelTwoTextNode" presStyleLbl="node2" presStyleIdx="1" presStyleCnt="2">
        <dgm:presLayoutVars>
          <dgm:chPref val="3"/>
        </dgm:presLayoutVars>
      </dgm:prSet>
      <dgm:spPr/>
    </dgm:pt>
    <dgm:pt modelId="{6FAE81C0-1D60-470A-B84A-7706AD390F5C}" type="pres">
      <dgm:prSet presAssocID="{E8E97BA4-3E81-4BF2-B2BF-55FCE0202493}" presName="level3hierChild" presStyleCnt="0"/>
      <dgm:spPr/>
    </dgm:pt>
    <dgm:pt modelId="{4E210524-63B2-46BA-88BF-AC994F784DB7}" type="pres">
      <dgm:prSet presAssocID="{7A0A8722-618C-49BB-928E-90E432D27A95}" presName="conn2-1" presStyleLbl="parChTrans1D3" presStyleIdx="2" presStyleCnt="4"/>
      <dgm:spPr/>
    </dgm:pt>
    <dgm:pt modelId="{B066DAD5-171B-474A-8330-56773FC85091}" type="pres">
      <dgm:prSet presAssocID="{7A0A8722-618C-49BB-928E-90E432D27A95}" presName="connTx" presStyleLbl="parChTrans1D3" presStyleIdx="2" presStyleCnt="4"/>
      <dgm:spPr/>
    </dgm:pt>
    <dgm:pt modelId="{E1BF7480-514D-4BBC-8C02-FF501EC72357}" type="pres">
      <dgm:prSet presAssocID="{EBBD4A29-A00C-40FF-9EEF-029505AA1317}" presName="root2" presStyleCnt="0"/>
      <dgm:spPr/>
    </dgm:pt>
    <dgm:pt modelId="{4B83A63A-0E02-44BF-83A2-84E9F47A9FCB}" type="pres">
      <dgm:prSet presAssocID="{EBBD4A29-A00C-40FF-9EEF-029505AA1317}" presName="LevelTwoTextNode" presStyleLbl="node3" presStyleIdx="2" presStyleCnt="4">
        <dgm:presLayoutVars>
          <dgm:chPref val="3"/>
        </dgm:presLayoutVars>
      </dgm:prSet>
      <dgm:spPr/>
    </dgm:pt>
    <dgm:pt modelId="{53C778AB-D513-43E8-9094-A37BE14A6502}" type="pres">
      <dgm:prSet presAssocID="{EBBD4A29-A00C-40FF-9EEF-029505AA1317}" presName="level3hierChild" presStyleCnt="0"/>
      <dgm:spPr/>
    </dgm:pt>
    <dgm:pt modelId="{48694CCC-1391-4EF4-9C30-31C1DA88B29F}" type="pres">
      <dgm:prSet presAssocID="{61CD98B8-BB6B-43E5-9694-D2D6A47291C4}" presName="conn2-1" presStyleLbl="parChTrans1D4" presStyleIdx="3" presStyleCnt="6"/>
      <dgm:spPr/>
    </dgm:pt>
    <dgm:pt modelId="{BD0E8D62-2122-412C-9AD0-032836C7C172}" type="pres">
      <dgm:prSet presAssocID="{61CD98B8-BB6B-43E5-9694-D2D6A47291C4}" presName="connTx" presStyleLbl="parChTrans1D4" presStyleIdx="3" presStyleCnt="6"/>
      <dgm:spPr/>
    </dgm:pt>
    <dgm:pt modelId="{7C8C81E5-B911-4543-ADBE-CB66F38CB0E2}" type="pres">
      <dgm:prSet presAssocID="{C6637FEE-0FB3-4532-9487-5671AB3452D8}" presName="root2" presStyleCnt="0"/>
      <dgm:spPr/>
    </dgm:pt>
    <dgm:pt modelId="{2AB8D2D3-677E-4694-8286-F696A483FF85}" type="pres">
      <dgm:prSet presAssocID="{C6637FEE-0FB3-4532-9487-5671AB3452D8}" presName="LevelTwoTextNode" presStyleLbl="node4" presStyleIdx="3" presStyleCnt="6">
        <dgm:presLayoutVars>
          <dgm:chPref val="3"/>
        </dgm:presLayoutVars>
      </dgm:prSet>
      <dgm:spPr/>
    </dgm:pt>
    <dgm:pt modelId="{CD511D84-6B4F-46CC-9B36-2469AE1B882D}" type="pres">
      <dgm:prSet presAssocID="{C6637FEE-0FB3-4532-9487-5671AB3452D8}" presName="level3hierChild" presStyleCnt="0"/>
      <dgm:spPr/>
    </dgm:pt>
    <dgm:pt modelId="{27E3EA24-5491-4C95-B15E-8D978E94B454}" type="pres">
      <dgm:prSet presAssocID="{9A587C6F-F327-4560-88A4-DF880861B664}" presName="conn2-1" presStyleLbl="parChTrans1D4" presStyleIdx="4" presStyleCnt="6"/>
      <dgm:spPr/>
    </dgm:pt>
    <dgm:pt modelId="{F81488A8-249A-4C58-A816-17F7FF68234C}" type="pres">
      <dgm:prSet presAssocID="{9A587C6F-F327-4560-88A4-DF880861B664}" presName="connTx" presStyleLbl="parChTrans1D4" presStyleIdx="4" presStyleCnt="6"/>
      <dgm:spPr/>
    </dgm:pt>
    <dgm:pt modelId="{DAE8AA25-8834-4417-9FA7-7A01F7EADCD6}" type="pres">
      <dgm:prSet presAssocID="{D2867E43-37D7-408A-B4F5-FC01CB6C8F6C}" presName="root2" presStyleCnt="0"/>
      <dgm:spPr/>
    </dgm:pt>
    <dgm:pt modelId="{178EC08F-62C3-4A9B-846C-4004F31D9990}" type="pres">
      <dgm:prSet presAssocID="{D2867E43-37D7-408A-B4F5-FC01CB6C8F6C}" presName="LevelTwoTextNode" presStyleLbl="node4" presStyleIdx="4" presStyleCnt="6">
        <dgm:presLayoutVars>
          <dgm:chPref val="3"/>
        </dgm:presLayoutVars>
      </dgm:prSet>
      <dgm:spPr>
        <a:xfrm>
          <a:off x="6200204" y="3034241"/>
          <a:ext cx="1317935" cy="658967"/>
        </a:xfrm>
        <a:prstGeom prst="roundRect">
          <a:avLst>
            <a:gd name="adj" fmla="val 10000"/>
          </a:avLst>
        </a:prstGeom>
      </dgm:spPr>
    </dgm:pt>
    <dgm:pt modelId="{E00A53F2-FA40-4EAA-8529-202F2184AA0B}" type="pres">
      <dgm:prSet presAssocID="{D2867E43-37D7-408A-B4F5-FC01CB6C8F6C}" presName="level3hierChild" presStyleCnt="0"/>
      <dgm:spPr/>
    </dgm:pt>
    <dgm:pt modelId="{57389D64-B410-41EA-9260-CE8B946EA0F2}" type="pres">
      <dgm:prSet presAssocID="{9BCA0F40-571B-4379-BB74-2CD9E61040D1}" presName="conn2-1" presStyleLbl="parChTrans1D3" presStyleIdx="3" presStyleCnt="4"/>
      <dgm:spPr/>
    </dgm:pt>
    <dgm:pt modelId="{0D4F9AB2-F625-4395-B9AB-D2CF7AFF796D}" type="pres">
      <dgm:prSet presAssocID="{9BCA0F40-571B-4379-BB74-2CD9E61040D1}" presName="connTx" presStyleLbl="parChTrans1D3" presStyleIdx="3" presStyleCnt="4"/>
      <dgm:spPr/>
    </dgm:pt>
    <dgm:pt modelId="{FBFFF884-A697-425E-9FAC-5D374CEF1345}" type="pres">
      <dgm:prSet presAssocID="{DFDF8DFB-770E-4F5E-A138-A3CE78F2022C}" presName="root2" presStyleCnt="0"/>
      <dgm:spPr/>
    </dgm:pt>
    <dgm:pt modelId="{CDFF1039-143D-446D-B7BC-5E69F9DA949F}" type="pres">
      <dgm:prSet presAssocID="{DFDF8DFB-770E-4F5E-A138-A3CE78F2022C}" presName="LevelTwoTextNode" presStyleLbl="node3" presStyleIdx="3" presStyleCnt="4">
        <dgm:presLayoutVars>
          <dgm:chPref val="3"/>
        </dgm:presLayoutVars>
      </dgm:prSet>
      <dgm:spPr/>
    </dgm:pt>
    <dgm:pt modelId="{8E044F9F-9744-42DE-B4DD-2D6100F75D4E}" type="pres">
      <dgm:prSet presAssocID="{DFDF8DFB-770E-4F5E-A138-A3CE78F2022C}" presName="level3hierChild" presStyleCnt="0"/>
      <dgm:spPr/>
    </dgm:pt>
    <dgm:pt modelId="{3DA6CF82-27AE-47F7-A190-D0E2EE674A4B}" type="pres">
      <dgm:prSet presAssocID="{25DBA565-CA7D-43F7-B564-1B0823D4FE79}" presName="conn2-1" presStyleLbl="parChTrans1D4" presStyleIdx="5" presStyleCnt="6"/>
      <dgm:spPr/>
    </dgm:pt>
    <dgm:pt modelId="{FCF206FC-FFAC-4171-8617-45680857EA58}" type="pres">
      <dgm:prSet presAssocID="{25DBA565-CA7D-43F7-B564-1B0823D4FE79}" presName="connTx" presStyleLbl="parChTrans1D4" presStyleIdx="5" presStyleCnt="6"/>
      <dgm:spPr/>
    </dgm:pt>
    <dgm:pt modelId="{F2ACF549-3011-4E4E-9100-E390EF9D4BB1}" type="pres">
      <dgm:prSet presAssocID="{C63AE13D-85E7-467D-AED1-013EEC04FE7D}" presName="root2" presStyleCnt="0"/>
      <dgm:spPr/>
    </dgm:pt>
    <dgm:pt modelId="{ED277023-C623-43E2-861F-874ECECE1A17}" type="pres">
      <dgm:prSet presAssocID="{C63AE13D-85E7-467D-AED1-013EEC04FE7D}" presName="LevelTwoTextNode" presStyleLbl="node4" presStyleIdx="5" presStyleCnt="6">
        <dgm:presLayoutVars>
          <dgm:chPref val="3"/>
        </dgm:presLayoutVars>
      </dgm:prSet>
      <dgm:spPr/>
    </dgm:pt>
    <dgm:pt modelId="{6AC01DDD-5CFE-495B-9574-FEDDF84E2778}" type="pres">
      <dgm:prSet presAssocID="{C63AE13D-85E7-467D-AED1-013EEC04FE7D}" presName="level3hierChild" presStyleCnt="0"/>
      <dgm:spPr/>
    </dgm:pt>
  </dgm:ptLst>
  <dgm:cxnLst>
    <dgm:cxn modelId="{55E24F00-8B0A-4AB3-B451-4B1F63F5D288}" srcId="{8C22994A-6C87-4778-9604-B44579DA5A64}" destId="{421FE84E-E313-451F-953E-B3C36BC18FAE}" srcOrd="1" destOrd="0" parTransId="{0FE0AC1B-BFC7-4CD1-ADE1-1E1DA45E6DCB}" sibTransId="{A39A2044-7A95-4E75-A0BE-560063127F7D}"/>
    <dgm:cxn modelId="{35E0DF0B-7FC4-4057-8863-39AE33ED14A9}" srcId="{8C22994A-6C87-4778-9604-B44579DA5A64}" destId="{E34F46F6-202B-41D2-A438-F74B9032655E}" srcOrd="0" destOrd="0" parTransId="{69E257A6-B7E3-4F77-BFE3-3104A96745D3}" sibTransId="{AA118AAE-2995-46C1-8B41-F8783047C8A8}"/>
    <dgm:cxn modelId="{4BD8720F-4749-4222-92B5-D861E85886F1}" type="presOf" srcId="{2271F7E3-6999-477A-9E6B-CE18D66C7D37}" destId="{25A113C8-8072-43F9-89D4-9ED32583A830}" srcOrd="0" destOrd="0" presId="urn:microsoft.com/office/officeart/2005/8/layout/hierarchy2"/>
    <dgm:cxn modelId="{C19F540F-DE66-437F-A4B9-653F72C06A3E}" type="presOf" srcId="{9BCA0F40-571B-4379-BB74-2CD9E61040D1}" destId="{57389D64-B410-41EA-9260-CE8B946EA0F2}" srcOrd="0" destOrd="0" presId="urn:microsoft.com/office/officeart/2005/8/layout/hierarchy2"/>
    <dgm:cxn modelId="{D7BD4D10-FBE3-4B16-A7A0-3CE1FAFF557E}" type="presOf" srcId="{E34F46F6-202B-41D2-A438-F74B9032655E}" destId="{79A8959C-0267-4FB7-8B78-A9B4D9B32B12}" srcOrd="0" destOrd="0" presId="urn:microsoft.com/office/officeart/2005/8/layout/hierarchy2"/>
    <dgm:cxn modelId="{7902A634-A01A-4957-97B9-1ECE92752EBE}" type="presOf" srcId="{9A587C6F-F327-4560-88A4-DF880861B664}" destId="{F81488A8-249A-4C58-A816-17F7FF68234C}" srcOrd="1" destOrd="0" presId="urn:microsoft.com/office/officeart/2005/8/layout/hierarchy2"/>
    <dgm:cxn modelId="{E015E535-DCC8-4F8D-8133-EC70A53A424C}" srcId="{EBBD4A29-A00C-40FF-9EEF-029505AA1317}" destId="{C6637FEE-0FB3-4532-9487-5671AB3452D8}" srcOrd="0" destOrd="0" parTransId="{61CD98B8-BB6B-43E5-9694-D2D6A47291C4}" sibTransId="{9F79561A-1249-4B59-82E7-D6EB136C2D54}"/>
    <dgm:cxn modelId="{09BEC63E-C4F7-4129-9441-37C7065FDE88}" type="presOf" srcId="{25DBA565-CA7D-43F7-B564-1B0823D4FE79}" destId="{3DA6CF82-27AE-47F7-A190-D0E2EE674A4B}" srcOrd="0" destOrd="0" presId="urn:microsoft.com/office/officeart/2005/8/layout/hierarchy2"/>
    <dgm:cxn modelId="{45830640-FC47-4D19-8133-8AA0AFA4914A}" type="presOf" srcId="{0FE0AC1B-BFC7-4CD1-ADE1-1E1DA45E6DCB}" destId="{59EC2DE5-BDF2-4775-A244-9FF0B18A3C90}" srcOrd="1" destOrd="0" presId="urn:microsoft.com/office/officeart/2005/8/layout/hierarchy2"/>
    <dgm:cxn modelId="{2BA70B5B-707F-4EBA-9FBB-175B1941E771}" srcId="{DFDF8DFB-770E-4F5E-A138-A3CE78F2022C}" destId="{C63AE13D-85E7-467D-AED1-013EEC04FE7D}" srcOrd="0" destOrd="0" parTransId="{25DBA565-CA7D-43F7-B564-1B0823D4FE79}" sibTransId="{A5D38088-E471-45CF-AD1A-233067B8677A}"/>
    <dgm:cxn modelId="{CC77FA5E-8AED-424D-B203-68CB91B1F7DD}" type="presOf" srcId="{ED397C4B-3FF8-43C7-AFB2-943BA49DFDFA}" destId="{35148660-7C1E-4AB3-94A2-9D39BDC2272C}" srcOrd="0" destOrd="0" presId="urn:microsoft.com/office/officeart/2005/8/layout/hierarchy2"/>
    <dgm:cxn modelId="{C4447B61-DBFE-43A6-9F80-BF7A12305C49}" srcId="{EBBD4A29-A00C-40FF-9EEF-029505AA1317}" destId="{D2867E43-37D7-408A-B4F5-FC01CB6C8F6C}" srcOrd="1" destOrd="0" parTransId="{9A587C6F-F327-4560-88A4-DF880861B664}" sibTransId="{DD9CDDEA-BD6B-4E58-A643-BAC1269E7CEF}"/>
    <dgm:cxn modelId="{7C680B64-9C23-4EE7-BE7B-4E6C0ECA2044}" type="presOf" srcId="{61CD98B8-BB6B-43E5-9694-D2D6A47291C4}" destId="{BD0E8D62-2122-412C-9AD0-032836C7C172}" srcOrd="1" destOrd="0" presId="urn:microsoft.com/office/officeart/2005/8/layout/hierarchy2"/>
    <dgm:cxn modelId="{EAF3224C-F44C-4964-8A07-B35A2037A678}" type="presOf" srcId="{9BCA0F40-571B-4379-BB74-2CD9E61040D1}" destId="{0D4F9AB2-F625-4395-B9AB-D2CF7AFF796D}" srcOrd="1" destOrd="0" presId="urn:microsoft.com/office/officeart/2005/8/layout/hierarchy2"/>
    <dgm:cxn modelId="{70258D6D-6DE0-4EF4-967B-6FAAD293192F}" type="presOf" srcId="{E8E97BA4-3E81-4BF2-B2BF-55FCE0202493}" destId="{12149BDC-7429-4A3D-9F11-5B0D56CBA094}" srcOrd="0" destOrd="0" presId="urn:microsoft.com/office/officeart/2005/8/layout/hierarchy2"/>
    <dgm:cxn modelId="{CEDE3F71-D7B5-4C86-9C64-C53D9F09A762}" srcId="{E8E97BA4-3E81-4BF2-B2BF-55FCE0202493}" destId="{EBBD4A29-A00C-40FF-9EEF-029505AA1317}" srcOrd="0" destOrd="0" parTransId="{7A0A8722-618C-49BB-928E-90E432D27A95}" sibTransId="{5E35DC17-E949-4DB6-BD65-D665C3778283}"/>
    <dgm:cxn modelId="{7221D051-7A18-4DCF-9CAB-F831E19DEACE}" srcId="{308731A1-30B3-44B7-8C14-ED5DEA652356}" destId="{AA68AE02-CD46-4B96-BBDA-05B734CBAFE6}" srcOrd="1" destOrd="0" parTransId="{50D4A3EC-0BEF-437A-885C-333ACB2621B0}" sibTransId="{36B5CB08-036B-45C9-B10E-1C6C7002F38A}"/>
    <dgm:cxn modelId="{9D8DE354-1293-43BE-920C-B9D5CF115718}" type="presOf" srcId="{69E257A6-B7E3-4F77-BFE3-3104A96745D3}" destId="{3A41823B-86F3-406F-A054-374247C2ECAB}" srcOrd="0" destOrd="0" presId="urn:microsoft.com/office/officeart/2005/8/layout/hierarchy2"/>
    <dgm:cxn modelId="{BB49F375-5060-470A-AAC6-112E578717C2}" srcId="{AA68AE02-CD46-4B96-BBDA-05B734CBAFE6}" destId="{ED397C4B-3FF8-43C7-AFB2-943BA49DFDFA}" srcOrd="0" destOrd="0" parTransId="{C7D2BF5F-2160-4F1B-B9A0-756EE86FBACD}" sibTransId="{C76DA601-EA3F-4C9D-B814-35B50D7D03B6}"/>
    <dgm:cxn modelId="{14A4DC56-063D-4244-AA9A-31892096DA42}" type="presOf" srcId="{308731A1-30B3-44B7-8C14-ED5DEA652356}" destId="{18E32922-F51C-40B9-BC52-EAC7F334A273}" srcOrd="0" destOrd="0" presId="urn:microsoft.com/office/officeart/2005/8/layout/hierarchy2"/>
    <dgm:cxn modelId="{E470067D-B037-4802-B95C-2A7D4DBCF712}" type="presOf" srcId="{AA68AE02-CD46-4B96-BBDA-05B734CBAFE6}" destId="{FB5F17FA-01F3-4DCE-AFEF-3373A9A37BF6}" srcOrd="0" destOrd="0" presId="urn:microsoft.com/office/officeart/2005/8/layout/hierarchy2"/>
    <dgm:cxn modelId="{83DE6180-8B16-456A-8A79-EC10C7421FDC}" type="presOf" srcId="{9A587C6F-F327-4560-88A4-DF880861B664}" destId="{27E3EA24-5491-4C95-B15E-8D978E94B454}" srcOrd="0" destOrd="0" presId="urn:microsoft.com/office/officeart/2005/8/layout/hierarchy2"/>
    <dgm:cxn modelId="{A2257B81-FA1D-4135-BCB9-36EA5A858C6B}" type="presOf" srcId="{7A0A8722-618C-49BB-928E-90E432D27A95}" destId="{4E210524-63B2-46BA-88BF-AC994F784DB7}" srcOrd="0" destOrd="0" presId="urn:microsoft.com/office/officeart/2005/8/layout/hierarchy2"/>
    <dgm:cxn modelId="{DFBB5283-0426-4F72-8FCC-41B1D992F85E}" type="presOf" srcId="{50D4A3EC-0BEF-437A-885C-333ACB2621B0}" destId="{24301EE5-773A-4EC5-97F6-0F6283266BB0}" srcOrd="1" destOrd="0" presId="urn:microsoft.com/office/officeart/2005/8/layout/hierarchy2"/>
    <dgm:cxn modelId="{B34AF989-653A-4053-8A67-FB80ABDC5948}" type="presOf" srcId="{69E257A6-B7E3-4F77-BFE3-3104A96745D3}" destId="{C3E950BE-1303-4C53-AB68-D937916DB24A}" srcOrd="1" destOrd="0" presId="urn:microsoft.com/office/officeart/2005/8/layout/hierarchy2"/>
    <dgm:cxn modelId="{45BA5493-DBB0-4C3F-8839-5D200367D1DA}" type="presOf" srcId="{0FE0AC1B-BFC7-4CD1-ADE1-1E1DA45E6DCB}" destId="{547094B5-6C7F-4543-AC5F-6BB8797E1833}" srcOrd="0" destOrd="0" presId="urn:microsoft.com/office/officeart/2005/8/layout/hierarchy2"/>
    <dgm:cxn modelId="{4A941F94-6128-4426-BDBB-408FC785D553}" type="presOf" srcId="{779A652F-6E2E-448F-B989-231B13B490F9}" destId="{C445F999-041F-4752-9E41-2E18A531AD57}" srcOrd="1" destOrd="0" presId="urn:microsoft.com/office/officeart/2005/8/layout/hierarchy2"/>
    <dgm:cxn modelId="{B41D8794-1082-4A92-8815-C4264E68B6D9}" type="presOf" srcId="{25DBA565-CA7D-43F7-B564-1B0823D4FE79}" destId="{FCF206FC-FFAC-4171-8617-45680857EA58}" srcOrd="1" destOrd="0" presId="urn:microsoft.com/office/officeart/2005/8/layout/hierarchy2"/>
    <dgm:cxn modelId="{EB48CA96-1F34-4F7E-8754-EAEBDF369E44}" type="presOf" srcId="{61CD98B8-BB6B-43E5-9694-D2D6A47291C4}" destId="{48694CCC-1391-4EF4-9C30-31C1DA88B29F}" srcOrd="0" destOrd="0" presId="urn:microsoft.com/office/officeart/2005/8/layout/hierarchy2"/>
    <dgm:cxn modelId="{27319598-1993-46B4-8DD4-7C44179FAB1B}" type="presOf" srcId="{7A0A8722-618C-49BB-928E-90E432D27A95}" destId="{B066DAD5-171B-474A-8330-56773FC85091}" srcOrd="1" destOrd="0" presId="urn:microsoft.com/office/officeart/2005/8/layout/hierarchy2"/>
    <dgm:cxn modelId="{27B9C99B-10A2-4803-9CA1-40F65D5D8D05}" srcId="{308731A1-30B3-44B7-8C14-ED5DEA652356}" destId="{8C22994A-6C87-4778-9604-B44579DA5A64}" srcOrd="0" destOrd="0" parTransId="{2271F7E3-6999-477A-9E6B-CE18D66C7D37}" sibTransId="{1AB1CF33-DBFD-4FA1-B515-195918D7E4D1}"/>
    <dgm:cxn modelId="{D04A2E9C-DAAF-4F79-84F8-D463637627A1}" srcId="{D375F5CE-A497-4D94-9390-5EE001E771C4}" destId="{E8E97BA4-3E81-4BF2-B2BF-55FCE0202493}" srcOrd="1" destOrd="0" parTransId="{E0F2D951-7FB4-46EC-9AC0-17CD94E674E8}" sibTransId="{82337CAD-4F84-4CAA-BE0A-F910E654E021}"/>
    <dgm:cxn modelId="{D655CD9E-5385-44AA-AFD7-3FAAEA269173}" type="presOf" srcId="{779A652F-6E2E-448F-B989-231B13B490F9}" destId="{D93CA1E7-1E9E-40F3-BD60-501BD0921ADB}" srcOrd="0" destOrd="0" presId="urn:microsoft.com/office/officeart/2005/8/layout/hierarchy2"/>
    <dgm:cxn modelId="{F2144CA0-B2A1-46B8-BB0B-D3F1E2B47504}" srcId="{D375F5CE-A497-4D94-9390-5EE001E771C4}" destId="{308731A1-30B3-44B7-8C14-ED5DEA652356}" srcOrd="0" destOrd="0" parTransId="{779A652F-6E2E-448F-B989-231B13B490F9}" sibTransId="{CB08FA17-C73C-49DE-A0C2-523942C96612}"/>
    <dgm:cxn modelId="{BD23F2A7-4F4A-4CC4-BEB0-1437C0F0AA42}" type="presOf" srcId="{C7D2BF5F-2160-4F1B-B9A0-756EE86FBACD}" destId="{40279CE7-C3F4-4DF6-A02A-837932E68076}" srcOrd="0" destOrd="0" presId="urn:microsoft.com/office/officeart/2005/8/layout/hierarchy2"/>
    <dgm:cxn modelId="{D6EE87AC-BC16-48AE-9C2E-6AFF4A37DD3B}" type="presOf" srcId="{DFDF8DFB-770E-4F5E-A138-A3CE78F2022C}" destId="{CDFF1039-143D-446D-B7BC-5E69F9DA949F}" srcOrd="0" destOrd="0" presId="urn:microsoft.com/office/officeart/2005/8/layout/hierarchy2"/>
    <dgm:cxn modelId="{DEF7E5C2-9ED3-48B8-B680-F3F9D2305E01}" type="presOf" srcId="{8C22994A-6C87-4778-9604-B44579DA5A64}" destId="{03F1BF70-1109-4C0A-A4E7-965962B6CD26}" srcOrd="0" destOrd="0" presId="urn:microsoft.com/office/officeart/2005/8/layout/hierarchy2"/>
    <dgm:cxn modelId="{68D4EFC9-51F6-437A-92D6-6AABE517833D}" type="presOf" srcId="{C63AE13D-85E7-467D-AED1-013EEC04FE7D}" destId="{ED277023-C623-43E2-861F-874ECECE1A17}" srcOrd="0" destOrd="0" presId="urn:microsoft.com/office/officeart/2005/8/layout/hierarchy2"/>
    <dgm:cxn modelId="{B2B7F5D2-3D89-4473-9130-04D479A98EA9}" type="presOf" srcId="{E0F2D951-7FB4-46EC-9AC0-17CD94E674E8}" destId="{90E16EEE-6BA0-4943-8A4D-5314DC0B9FBE}" srcOrd="1" destOrd="0" presId="urn:microsoft.com/office/officeart/2005/8/layout/hierarchy2"/>
    <dgm:cxn modelId="{CBB82CD3-1F37-4769-B5BD-8753504A3284}" type="presOf" srcId="{50D4A3EC-0BEF-437A-885C-333ACB2621B0}" destId="{E0A73A1B-2B97-45BA-8A57-D9AA1DC86B87}" srcOrd="0" destOrd="0" presId="urn:microsoft.com/office/officeart/2005/8/layout/hierarchy2"/>
    <dgm:cxn modelId="{801F48D6-E2FC-4772-A1EA-58CBD12167FA}" srcId="{A9D0601D-C30D-4A46-B353-97FCDE897D7B}" destId="{D375F5CE-A497-4D94-9390-5EE001E771C4}" srcOrd="0" destOrd="0" parTransId="{28ED2A10-62B8-4F91-A0D5-E8DDD577CF53}" sibTransId="{A4C253F0-248F-4B08-8EFE-AF7FA629F822}"/>
    <dgm:cxn modelId="{5879D3D8-35FB-4ED2-9DAD-A2B40B4D4162}" type="presOf" srcId="{C7D2BF5F-2160-4F1B-B9A0-756EE86FBACD}" destId="{BE2E24FD-6A47-4483-91E5-04F976C4214A}" srcOrd="1" destOrd="0" presId="urn:microsoft.com/office/officeart/2005/8/layout/hierarchy2"/>
    <dgm:cxn modelId="{D3140FDA-DE1C-4902-B265-40270A57E780}" type="presOf" srcId="{C6637FEE-0FB3-4532-9487-5671AB3452D8}" destId="{2AB8D2D3-677E-4694-8286-F696A483FF85}" srcOrd="0" destOrd="0" presId="urn:microsoft.com/office/officeart/2005/8/layout/hierarchy2"/>
    <dgm:cxn modelId="{0BA736E6-133F-46A1-8D69-E87DEFBC1250}" type="presOf" srcId="{D375F5CE-A497-4D94-9390-5EE001E771C4}" destId="{0125BD50-D79D-4CC3-9755-0DA3E2D8E3FD}" srcOrd="0" destOrd="0" presId="urn:microsoft.com/office/officeart/2005/8/layout/hierarchy2"/>
    <dgm:cxn modelId="{764857E7-8073-4439-BD6B-DD0F379A4646}" type="presOf" srcId="{EBBD4A29-A00C-40FF-9EEF-029505AA1317}" destId="{4B83A63A-0E02-44BF-83A2-84E9F47A9FCB}" srcOrd="0" destOrd="0" presId="urn:microsoft.com/office/officeart/2005/8/layout/hierarchy2"/>
    <dgm:cxn modelId="{E1A500E9-51F3-4913-B604-DE042553A70E}" type="presOf" srcId="{2271F7E3-6999-477A-9E6B-CE18D66C7D37}" destId="{B6A6DF98-94CC-4CDB-8912-43FA13112CF3}" srcOrd="1" destOrd="0" presId="urn:microsoft.com/office/officeart/2005/8/layout/hierarchy2"/>
    <dgm:cxn modelId="{BC17D1E9-DA7E-41AF-9EAA-6DCBE5CA7629}" srcId="{E8E97BA4-3E81-4BF2-B2BF-55FCE0202493}" destId="{DFDF8DFB-770E-4F5E-A138-A3CE78F2022C}" srcOrd="1" destOrd="0" parTransId="{9BCA0F40-571B-4379-BB74-2CD9E61040D1}" sibTransId="{A0709CB2-193D-4FF2-A1FE-0AA21646369B}"/>
    <dgm:cxn modelId="{84A05EF3-0CE0-45E0-9CE6-F5A7C0A5FDCD}" type="presOf" srcId="{421FE84E-E313-451F-953E-B3C36BC18FAE}" destId="{B850CD55-517E-4C23-963D-66006E75A232}" srcOrd="0" destOrd="0" presId="urn:microsoft.com/office/officeart/2005/8/layout/hierarchy2"/>
    <dgm:cxn modelId="{382466F3-AF66-4DEC-9231-F18BBE40903F}" type="presOf" srcId="{E0F2D951-7FB4-46EC-9AC0-17CD94E674E8}" destId="{06917447-A603-4E65-9FC2-D499E1F092C8}" srcOrd="0" destOrd="0" presId="urn:microsoft.com/office/officeart/2005/8/layout/hierarchy2"/>
    <dgm:cxn modelId="{F756B7F7-BF80-4770-BECE-4416400437B3}" type="presOf" srcId="{D2867E43-37D7-408A-B4F5-FC01CB6C8F6C}" destId="{178EC08F-62C3-4A9B-846C-4004F31D9990}" srcOrd="0" destOrd="0" presId="urn:microsoft.com/office/officeart/2005/8/layout/hierarchy2"/>
    <dgm:cxn modelId="{5226ACFA-CE71-4A07-AD3C-6C96CCC85440}" type="presOf" srcId="{A9D0601D-C30D-4A46-B353-97FCDE897D7B}" destId="{D5D6806D-4546-485C-B52C-9C040D48B893}" srcOrd="0" destOrd="0" presId="urn:microsoft.com/office/officeart/2005/8/layout/hierarchy2"/>
    <dgm:cxn modelId="{FCDCC9FB-E691-49A5-A29A-FE2DF3EA13E7}" type="presParOf" srcId="{D5D6806D-4546-485C-B52C-9C040D48B893}" destId="{B89F1F21-A5C4-45FE-B012-DA4D0B972B0B}" srcOrd="0" destOrd="0" presId="urn:microsoft.com/office/officeart/2005/8/layout/hierarchy2"/>
    <dgm:cxn modelId="{EC409B56-33D1-4C48-AF7E-A89EFDD083FE}" type="presParOf" srcId="{B89F1F21-A5C4-45FE-B012-DA4D0B972B0B}" destId="{0125BD50-D79D-4CC3-9755-0DA3E2D8E3FD}" srcOrd="0" destOrd="0" presId="urn:microsoft.com/office/officeart/2005/8/layout/hierarchy2"/>
    <dgm:cxn modelId="{CD538CEC-E919-4F3C-9CA7-0F6B996639F3}" type="presParOf" srcId="{B89F1F21-A5C4-45FE-B012-DA4D0B972B0B}" destId="{C0F8C703-F2D5-4D25-9D76-3B5B90F59A28}" srcOrd="1" destOrd="0" presId="urn:microsoft.com/office/officeart/2005/8/layout/hierarchy2"/>
    <dgm:cxn modelId="{0A7E7ABF-0DBC-4DFB-81DE-3EAF1B2CBF7C}" type="presParOf" srcId="{C0F8C703-F2D5-4D25-9D76-3B5B90F59A28}" destId="{D93CA1E7-1E9E-40F3-BD60-501BD0921ADB}" srcOrd="0" destOrd="0" presId="urn:microsoft.com/office/officeart/2005/8/layout/hierarchy2"/>
    <dgm:cxn modelId="{A920213D-2B22-49A9-A283-469A97088A55}" type="presParOf" srcId="{D93CA1E7-1E9E-40F3-BD60-501BD0921ADB}" destId="{C445F999-041F-4752-9E41-2E18A531AD57}" srcOrd="0" destOrd="0" presId="urn:microsoft.com/office/officeart/2005/8/layout/hierarchy2"/>
    <dgm:cxn modelId="{E06C853C-9B5E-43A4-A86A-1EAC05A9308A}" type="presParOf" srcId="{C0F8C703-F2D5-4D25-9D76-3B5B90F59A28}" destId="{8B8CAF1F-38B0-4032-8798-86DFCF8F8F8D}" srcOrd="1" destOrd="0" presId="urn:microsoft.com/office/officeart/2005/8/layout/hierarchy2"/>
    <dgm:cxn modelId="{20321EBB-9A06-4C35-82CD-3A38433AEF2E}" type="presParOf" srcId="{8B8CAF1F-38B0-4032-8798-86DFCF8F8F8D}" destId="{18E32922-F51C-40B9-BC52-EAC7F334A273}" srcOrd="0" destOrd="0" presId="urn:microsoft.com/office/officeart/2005/8/layout/hierarchy2"/>
    <dgm:cxn modelId="{7C6A5902-92A3-4BA4-B241-8C7AFFE09711}" type="presParOf" srcId="{8B8CAF1F-38B0-4032-8798-86DFCF8F8F8D}" destId="{D5702D07-435B-4D9D-BC30-F5CE4FF4F608}" srcOrd="1" destOrd="0" presId="urn:microsoft.com/office/officeart/2005/8/layout/hierarchy2"/>
    <dgm:cxn modelId="{7E356CD9-C1CB-4768-A5F3-8EB7D0794707}" type="presParOf" srcId="{D5702D07-435B-4D9D-BC30-F5CE4FF4F608}" destId="{25A113C8-8072-43F9-89D4-9ED32583A830}" srcOrd="0" destOrd="0" presId="urn:microsoft.com/office/officeart/2005/8/layout/hierarchy2"/>
    <dgm:cxn modelId="{599F8BAC-A203-4816-94BC-6B7D019C0AC9}" type="presParOf" srcId="{25A113C8-8072-43F9-89D4-9ED32583A830}" destId="{B6A6DF98-94CC-4CDB-8912-43FA13112CF3}" srcOrd="0" destOrd="0" presId="urn:microsoft.com/office/officeart/2005/8/layout/hierarchy2"/>
    <dgm:cxn modelId="{2481C1A2-AA83-4477-AC3E-2F7311C3070D}" type="presParOf" srcId="{D5702D07-435B-4D9D-BC30-F5CE4FF4F608}" destId="{E18C6BC4-CAC3-4FD3-BFA7-3577D40E96B7}" srcOrd="1" destOrd="0" presId="urn:microsoft.com/office/officeart/2005/8/layout/hierarchy2"/>
    <dgm:cxn modelId="{8A5674DE-A27F-451E-A717-C94E5746847B}" type="presParOf" srcId="{E18C6BC4-CAC3-4FD3-BFA7-3577D40E96B7}" destId="{03F1BF70-1109-4C0A-A4E7-965962B6CD26}" srcOrd="0" destOrd="0" presId="urn:microsoft.com/office/officeart/2005/8/layout/hierarchy2"/>
    <dgm:cxn modelId="{2B9234A5-D5FA-4776-BD53-FB2496208732}" type="presParOf" srcId="{E18C6BC4-CAC3-4FD3-BFA7-3577D40E96B7}" destId="{4A8CD520-4CD8-4242-B75E-1F8D61F2374C}" srcOrd="1" destOrd="0" presId="urn:microsoft.com/office/officeart/2005/8/layout/hierarchy2"/>
    <dgm:cxn modelId="{8D67237E-4B34-4295-8F5B-94A86895797E}" type="presParOf" srcId="{4A8CD520-4CD8-4242-B75E-1F8D61F2374C}" destId="{3A41823B-86F3-406F-A054-374247C2ECAB}" srcOrd="0" destOrd="0" presId="urn:microsoft.com/office/officeart/2005/8/layout/hierarchy2"/>
    <dgm:cxn modelId="{893F3536-D6C5-4B6B-A44B-D6A6775CE6D7}" type="presParOf" srcId="{3A41823B-86F3-406F-A054-374247C2ECAB}" destId="{C3E950BE-1303-4C53-AB68-D937916DB24A}" srcOrd="0" destOrd="0" presId="urn:microsoft.com/office/officeart/2005/8/layout/hierarchy2"/>
    <dgm:cxn modelId="{04B78349-5A00-49F7-8541-18F584FFD543}" type="presParOf" srcId="{4A8CD520-4CD8-4242-B75E-1F8D61F2374C}" destId="{79AEA70B-7B81-4B89-9A14-00EEA75B0DC0}" srcOrd="1" destOrd="0" presId="urn:microsoft.com/office/officeart/2005/8/layout/hierarchy2"/>
    <dgm:cxn modelId="{250B9240-D275-4009-85A5-74C4645D7AD8}" type="presParOf" srcId="{79AEA70B-7B81-4B89-9A14-00EEA75B0DC0}" destId="{79A8959C-0267-4FB7-8B78-A9B4D9B32B12}" srcOrd="0" destOrd="0" presId="urn:microsoft.com/office/officeart/2005/8/layout/hierarchy2"/>
    <dgm:cxn modelId="{B0E0EF1A-5EDB-4C74-8479-FDE7F81CE18E}" type="presParOf" srcId="{79AEA70B-7B81-4B89-9A14-00EEA75B0DC0}" destId="{C4F6D3F2-ACCD-429D-B4C1-77BF1034DF7A}" srcOrd="1" destOrd="0" presId="urn:microsoft.com/office/officeart/2005/8/layout/hierarchy2"/>
    <dgm:cxn modelId="{4DD6134E-D927-4100-BB49-CB830BC83645}" type="presParOf" srcId="{4A8CD520-4CD8-4242-B75E-1F8D61F2374C}" destId="{547094B5-6C7F-4543-AC5F-6BB8797E1833}" srcOrd="2" destOrd="0" presId="urn:microsoft.com/office/officeart/2005/8/layout/hierarchy2"/>
    <dgm:cxn modelId="{2AF64E56-B481-4533-BDE3-7189F8D4A6FA}" type="presParOf" srcId="{547094B5-6C7F-4543-AC5F-6BB8797E1833}" destId="{59EC2DE5-BDF2-4775-A244-9FF0B18A3C90}" srcOrd="0" destOrd="0" presId="urn:microsoft.com/office/officeart/2005/8/layout/hierarchy2"/>
    <dgm:cxn modelId="{507310EC-CF5B-40AE-B59F-06C9BAA799D2}" type="presParOf" srcId="{4A8CD520-4CD8-4242-B75E-1F8D61F2374C}" destId="{CC54CACD-6B01-4CA1-BAD9-0852ABE5D297}" srcOrd="3" destOrd="0" presId="urn:microsoft.com/office/officeart/2005/8/layout/hierarchy2"/>
    <dgm:cxn modelId="{430E07C4-AF5C-4189-B8E7-08A766E7304B}" type="presParOf" srcId="{CC54CACD-6B01-4CA1-BAD9-0852ABE5D297}" destId="{B850CD55-517E-4C23-963D-66006E75A232}" srcOrd="0" destOrd="0" presId="urn:microsoft.com/office/officeart/2005/8/layout/hierarchy2"/>
    <dgm:cxn modelId="{E5CFB632-87A5-461C-8597-24E294ABAB41}" type="presParOf" srcId="{CC54CACD-6B01-4CA1-BAD9-0852ABE5D297}" destId="{29CBD5C1-89D6-455A-A421-473A02511FA7}" srcOrd="1" destOrd="0" presId="urn:microsoft.com/office/officeart/2005/8/layout/hierarchy2"/>
    <dgm:cxn modelId="{C9D17B06-619B-40C0-ADA3-F637679F8EAD}" type="presParOf" srcId="{D5702D07-435B-4D9D-BC30-F5CE4FF4F608}" destId="{E0A73A1B-2B97-45BA-8A57-D9AA1DC86B87}" srcOrd="2" destOrd="0" presId="urn:microsoft.com/office/officeart/2005/8/layout/hierarchy2"/>
    <dgm:cxn modelId="{B6A90DBE-CAAF-4823-BDA6-92CD614976A3}" type="presParOf" srcId="{E0A73A1B-2B97-45BA-8A57-D9AA1DC86B87}" destId="{24301EE5-773A-4EC5-97F6-0F6283266BB0}" srcOrd="0" destOrd="0" presId="urn:microsoft.com/office/officeart/2005/8/layout/hierarchy2"/>
    <dgm:cxn modelId="{4DF8DC3F-084D-4C4A-BEE7-EDD9F890842B}" type="presParOf" srcId="{D5702D07-435B-4D9D-BC30-F5CE4FF4F608}" destId="{962D2993-1380-4C76-8F42-BAD25244E043}" srcOrd="3" destOrd="0" presId="urn:microsoft.com/office/officeart/2005/8/layout/hierarchy2"/>
    <dgm:cxn modelId="{0FC27E72-275B-416B-8F3A-405A60B7AEF4}" type="presParOf" srcId="{962D2993-1380-4C76-8F42-BAD25244E043}" destId="{FB5F17FA-01F3-4DCE-AFEF-3373A9A37BF6}" srcOrd="0" destOrd="0" presId="urn:microsoft.com/office/officeart/2005/8/layout/hierarchy2"/>
    <dgm:cxn modelId="{0906C611-E6F5-453E-BCFB-B39AAB1BCA47}" type="presParOf" srcId="{962D2993-1380-4C76-8F42-BAD25244E043}" destId="{22FEB322-5F0D-4D34-B738-D814B52298B0}" srcOrd="1" destOrd="0" presId="urn:microsoft.com/office/officeart/2005/8/layout/hierarchy2"/>
    <dgm:cxn modelId="{0B9A1649-8133-400C-ACD2-60698192BBF4}" type="presParOf" srcId="{22FEB322-5F0D-4D34-B738-D814B52298B0}" destId="{40279CE7-C3F4-4DF6-A02A-837932E68076}" srcOrd="0" destOrd="0" presId="urn:microsoft.com/office/officeart/2005/8/layout/hierarchy2"/>
    <dgm:cxn modelId="{B5B136B9-3BFB-4275-BD09-DEA152FD209C}" type="presParOf" srcId="{40279CE7-C3F4-4DF6-A02A-837932E68076}" destId="{BE2E24FD-6A47-4483-91E5-04F976C4214A}" srcOrd="0" destOrd="0" presId="urn:microsoft.com/office/officeart/2005/8/layout/hierarchy2"/>
    <dgm:cxn modelId="{8DDA8208-F728-447C-9809-1C4CFC57761F}" type="presParOf" srcId="{22FEB322-5F0D-4D34-B738-D814B52298B0}" destId="{89A315E4-6F3C-4092-AD49-E3BB44110323}" srcOrd="1" destOrd="0" presId="urn:microsoft.com/office/officeart/2005/8/layout/hierarchy2"/>
    <dgm:cxn modelId="{F7A7EFA6-C5AA-45E9-A957-8C7D87E00CDC}" type="presParOf" srcId="{89A315E4-6F3C-4092-AD49-E3BB44110323}" destId="{35148660-7C1E-4AB3-94A2-9D39BDC2272C}" srcOrd="0" destOrd="0" presId="urn:microsoft.com/office/officeart/2005/8/layout/hierarchy2"/>
    <dgm:cxn modelId="{B1ACF76A-D0D7-404C-A877-60790488A89C}" type="presParOf" srcId="{89A315E4-6F3C-4092-AD49-E3BB44110323}" destId="{A5017805-8B03-4B07-A3F9-37DD0A3CC470}" srcOrd="1" destOrd="0" presId="urn:microsoft.com/office/officeart/2005/8/layout/hierarchy2"/>
    <dgm:cxn modelId="{295D9E1F-5258-49C3-9E69-91094B90C57B}" type="presParOf" srcId="{C0F8C703-F2D5-4D25-9D76-3B5B90F59A28}" destId="{06917447-A603-4E65-9FC2-D499E1F092C8}" srcOrd="2" destOrd="0" presId="urn:microsoft.com/office/officeart/2005/8/layout/hierarchy2"/>
    <dgm:cxn modelId="{396B4DC9-1A52-46AA-A9DA-2EDF5B0799CA}" type="presParOf" srcId="{06917447-A603-4E65-9FC2-D499E1F092C8}" destId="{90E16EEE-6BA0-4943-8A4D-5314DC0B9FBE}" srcOrd="0" destOrd="0" presId="urn:microsoft.com/office/officeart/2005/8/layout/hierarchy2"/>
    <dgm:cxn modelId="{DA5FA48F-84D2-4E96-94C3-ED040AF50CEC}" type="presParOf" srcId="{C0F8C703-F2D5-4D25-9D76-3B5B90F59A28}" destId="{6DB120CB-5862-4C84-9EE0-7CC842349CAA}" srcOrd="3" destOrd="0" presId="urn:microsoft.com/office/officeart/2005/8/layout/hierarchy2"/>
    <dgm:cxn modelId="{328DE237-ED61-4F71-BE80-207F403901CD}" type="presParOf" srcId="{6DB120CB-5862-4C84-9EE0-7CC842349CAA}" destId="{12149BDC-7429-4A3D-9F11-5B0D56CBA094}" srcOrd="0" destOrd="0" presId="urn:microsoft.com/office/officeart/2005/8/layout/hierarchy2"/>
    <dgm:cxn modelId="{716E3033-7B10-4431-B047-CF58AFDA24DA}" type="presParOf" srcId="{6DB120CB-5862-4C84-9EE0-7CC842349CAA}" destId="{6FAE81C0-1D60-470A-B84A-7706AD390F5C}" srcOrd="1" destOrd="0" presId="urn:microsoft.com/office/officeart/2005/8/layout/hierarchy2"/>
    <dgm:cxn modelId="{556FD990-7AF4-454C-9976-3FAA1853236A}" type="presParOf" srcId="{6FAE81C0-1D60-470A-B84A-7706AD390F5C}" destId="{4E210524-63B2-46BA-88BF-AC994F784DB7}" srcOrd="0" destOrd="0" presId="urn:microsoft.com/office/officeart/2005/8/layout/hierarchy2"/>
    <dgm:cxn modelId="{8744896B-2413-4C75-914D-A50C4360603E}" type="presParOf" srcId="{4E210524-63B2-46BA-88BF-AC994F784DB7}" destId="{B066DAD5-171B-474A-8330-56773FC85091}" srcOrd="0" destOrd="0" presId="urn:microsoft.com/office/officeart/2005/8/layout/hierarchy2"/>
    <dgm:cxn modelId="{2CC63A54-640B-4624-9AAE-540219CA5A37}" type="presParOf" srcId="{6FAE81C0-1D60-470A-B84A-7706AD390F5C}" destId="{E1BF7480-514D-4BBC-8C02-FF501EC72357}" srcOrd="1" destOrd="0" presId="urn:microsoft.com/office/officeart/2005/8/layout/hierarchy2"/>
    <dgm:cxn modelId="{E89E9ABA-5B54-43D1-809F-66EC3388542C}" type="presParOf" srcId="{E1BF7480-514D-4BBC-8C02-FF501EC72357}" destId="{4B83A63A-0E02-44BF-83A2-84E9F47A9FCB}" srcOrd="0" destOrd="0" presId="urn:microsoft.com/office/officeart/2005/8/layout/hierarchy2"/>
    <dgm:cxn modelId="{30B84D4C-DCCB-4942-9F0A-D9AEBA167B7D}" type="presParOf" srcId="{E1BF7480-514D-4BBC-8C02-FF501EC72357}" destId="{53C778AB-D513-43E8-9094-A37BE14A6502}" srcOrd="1" destOrd="0" presId="urn:microsoft.com/office/officeart/2005/8/layout/hierarchy2"/>
    <dgm:cxn modelId="{2A3BE97C-9CE4-440A-9019-F7399AEB6B5B}" type="presParOf" srcId="{53C778AB-D513-43E8-9094-A37BE14A6502}" destId="{48694CCC-1391-4EF4-9C30-31C1DA88B29F}" srcOrd="0" destOrd="0" presId="urn:microsoft.com/office/officeart/2005/8/layout/hierarchy2"/>
    <dgm:cxn modelId="{2B8C4C51-2B21-44FF-B760-808C8A10894D}" type="presParOf" srcId="{48694CCC-1391-4EF4-9C30-31C1DA88B29F}" destId="{BD0E8D62-2122-412C-9AD0-032836C7C172}" srcOrd="0" destOrd="0" presId="urn:microsoft.com/office/officeart/2005/8/layout/hierarchy2"/>
    <dgm:cxn modelId="{20F2B93B-C787-4E1D-B5B7-62A36ED6CB0A}" type="presParOf" srcId="{53C778AB-D513-43E8-9094-A37BE14A6502}" destId="{7C8C81E5-B911-4543-ADBE-CB66F38CB0E2}" srcOrd="1" destOrd="0" presId="urn:microsoft.com/office/officeart/2005/8/layout/hierarchy2"/>
    <dgm:cxn modelId="{EEF4142D-D5D4-434F-8346-C4012C30C4D8}" type="presParOf" srcId="{7C8C81E5-B911-4543-ADBE-CB66F38CB0E2}" destId="{2AB8D2D3-677E-4694-8286-F696A483FF85}" srcOrd="0" destOrd="0" presId="urn:microsoft.com/office/officeart/2005/8/layout/hierarchy2"/>
    <dgm:cxn modelId="{B9EBAAA1-5EAA-4813-9FC0-EE7E374DC7B5}" type="presParOf" srcId="{7C8C81E5-B911-4543-ADBE-CB66F38CB0E2}" destId="{CD511D84-6B4F-46CC-9B36-2469AE1B882D}" srcOrd="1" destOrd="0" presId="urn:microsoft.com/office/officeart/2005/8/layout/hierarchy2"/>
    <dgm:cxn modelId="{122EFC9E-AB1A-4A3A-9072-4C782F61FEF8}" type="presParOf" srcId="{53C778AB-D513-43E8-9094-A37BE14A6502}" destId="{27E3EA24-5491-4C95-B15E-8D978E94B454}" srcOrd="2" destOrd="0" presId="urn:microsoft.com/office/officeart/2005/8/layout/hierarchy2"/>
    <dgm:cxn modelId="{36513A3A-A626-49A1-9197-84F424DCCFBE}" type="presParOf" srcId="{27E3EA24-5491-4C95-B15E-8D978E94B454}" destId="{F81488A8-249A-4C58-A816-17F7FF68234C}" srcOrd="0" destOrd="0" presId="urn:microsoft.com/office/officeart/2005/8/layout/hierarchy2"/>
    <dgm:cxn modelId="{6CA85583-B117-4EBE-A4A9-8C96460B5971}" type="presParOf" srcId="{53C778AB-D513-43E8-9094-A37BE14A6502}" destId="{DAE8AA25-8834-4417-9FA7-7A01F7EADCD6}" srcOrd="3" destOrd="0" presId="urn:microsoft.com/office/officeart/2005/8/layout/hierarchy2"/>
    <dgm:cxn modelId="{628232C6-21B0-4DC9-B044-4B9EFA76BB49}" type="presParOf" srcId="{DAE8AA25-8834-4417-9FA7-7A01F7EADCD6}" destId="{178EC08F-62C3-4A9B-846C-4004F31D9990}" srcOrd="0" destOrd="0" presId="urn:microsoft.com/office/officeart/2005/8/layout/hierarchy2"/>
    <dgm:cxn modelId="{6D159BC2-0ABD-46D6-8ABA-3A6CE28DC998}" type="presParOf" srcId="{DAE8AA25-8834-4417-9FA7-7A01F7EADCD6}" destId="{E00A53F2-FA40-4EAA-8529-202F2184AA0B}" srcOrd="1" destOrd="0" presId="urn:microsoft.com/office/officeart/2005/8/layout/hierarchy2"/>
    <dgm:cxn modelId="{2D04D701-903D-4C72-90BF-441F0A58BC98}" type="presParOf" srcId="{6FAE81C0-1D60-470A-B84A-7706AD390F5C}" destId="{57389D64-B410-41EA-9260-CE8B946EA0F2}" srcOrd="2" destOrd="0" presId="urn:microsoft.com/office/officeart/2005/8/layout/hierarchy2"/>
    <dgm:cxn modelId="{9B6731A7-F117-406F-8CBE-AD990E979B20}" type="presParOf" srcId="{57389D64-B410-41EA-9260-CE8B946EA0F2}" destId="{0D4F9AB2-F625-4395-B9AB-D2CF7AFF796D}" srcOrd="0" destOrd="0" presId="urn:microsoft.com/office/officeart/2005/8/layout/hierarchy2"/>
    <dgm:cxn modelId="{1B2C06BD-4F76-4C43-A364-8B5E08840098}" type="presParOf" srcId="{6FAE81C0-1D60-470A-B84A-7706AD390F5C}" destId="{FBFFF884-A697-425E-9FAC-5D374CEF1345}" srcOrd="3" destOrd="0" presId="urn:microsoft.com/office/officeart/2005/8/layout/hierarchy2"/>
    <dgm:cxn modelId="{0D2D9DC7-6D9B-4565-AE2E-507EEA143941}" type="presParOf" srcId="{FBFFF884-A697-425E-9FAC-5D374CEF1345}" destId="{CDFF1039-143D-446D-B7BC-5E69F9DA949F}" srcOrd="0" destOrd="0" presId="urn:microsoft.com/office/officeart/2005/8/layout/hierarchy2"/>
    <dgm:cxn modelId="{C640AEE6-FB05-4CE2-8335-E07219D81FEB}" type="presParOf" srcId="{FBFFF884-A697-425E-9FAC-5D374CEF1345}" destId="{8E044F9F-9744-42DE-B4DD-2D6100F75D4E}" srcOrd="1" destOrd="0" presId="urn:microsoft.com/office/officeart/2005/8/layout/hierarchy2"/>
    <dgm:cxn modelId="{D0142675-F0BE-480D-A3BA-9559A02B10A7}" type="presParOf" srcId="{8E044F9F-9744-42DE-B4DD-2D6100F75D4E}" destId="{3DA6CF82-27AE-47F7-A190-D0E2EE674A4B}" srcOrd="0" destOrd="0" presId="urn:microsoft.com/office/officeart/2005/8/layout/hierarchy2"/>
    <dgm:cxn modelId="{EC6CF360-9CD3-4F9B-9F64-28FE5EAACDE5}" type="presParOf" srcId="{3DA6CF82-27AE-47F7-A190-D0E2EE674A4B}" destId="{FCF206FC-FFAC-4171-8617-45680857EA58}" srcOrd="0" destOrd="0" presId="urn:microsoft.com/office/officeart/2005/8/layout/hierarchy2"/>
    <dgm:cxn modelId="{84E6FEA5-15A2-4312-A746-913B7EF0414F}" type="presParOf" srcId="{8E044F9F-9744-42DE-B4DD-2D6100F75D4E}" destId="{F2ACF549-3011-4E4E-9100-E390EF9D4BB1}" srcOrd="1" destOrd="0" presId="urn:microsoft.com/office/officeart/2005/8/layout/hierarchy2"/>
    <dgm:cxn modelId="{BF703363-12E2-4230-B65E-12924382C200}" type="presParOf" srcId="{F2ACF549-3011-4E4E-9100-E390EF9D4BB1}" destId="{ED277023-C623-43E2-861F-874ECECE1A17}" srcOrd="0" destOrd="0" presId="urn:microsoft.com/office/officeart/2005/8/layout/hierarchy2"/>
    <dgm:cxn modelId="{1F225457-1A15-43BD-A355-DAA465847A1F}" type="presParOf" srcId="{F2ACF549-3011-4E4E-9100-E390EF9D4BB1}" destId="{6AC01DDD-5CFE-495B-9574-FEDDF84E277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F0E920E-9192-49B9-A3AD-C70FD43F888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8FB88C4-C609-43F4-9557-D28CCE6674C2}">
      <dgm:prSet/>
      <dgm:spPr/>
      <dgm:t>
        <a:bodyPr/>
        <a:lstStyle/>
        <a:p>
          <a:pPr rtl="0"/>
          <a:r>
            <a:rPr lang="nb-NO"/>
            <a:t>NTNU kurs</a:t>
          </a:r>
          <a:endParaRPr lang="en-US">
            <a:latin typeface="Arial" panose="020B0604020202020204"/>
          </a:endParaRPr>
        </a:p>
      </dgm:t>
    </dgm:pt>
    <dgm:pt modelId="{E9200CAD-1510-4591-8424-B440DE098771}" type="parTrans" cxnId="{7D1ECEF0-0B93-483C-9F41-722A246D48D9}">
      <dgm:prSet/>
      <dgm:spPr/>
      <dgm:t>
        <a:bodyPr/>
        <a:lstStyle/>
        <a:p>
          <a:endParaRPr lang="en-US"/>
        </a:p>
      </dgm:t>
    </dgm:pt>
    <dgm:pt modelId="{16F3C3F4-942F-45AC-A1C9-D430258150A1}" type="sibTrans" cxnId="{7D1ECEF0-0B93-483C-9F41-722A246D48D9}">
      <dgm:prSet/>
      <dgm:spPr/>
      <dgm:t>
        <a:bodyPr/>
        <a:lstStyle/>
        <a:p>
          <a:endParaRPr lang="en-US"/>
        </a:p>
      </dgm:t>
    </dgm:pt>
    <dgm:pt modelId="{41CFC889-6DE7-40EA-8C72-17E545475C37}">
      <dgm:prSet/>
      <dgm:spPr/>
      <dgm:t>
        <a:bodyPr/>
        <a:lstStyle/>
        <a:p>
          <a:pPr rtl="0"/>
          <a:r>
            <a:rPr lang="en-US"/>
            <a:t>Egenlæring</a:t>
          </a:r>
          <a:r>
            <a:rPr lang="en-US">
              <a:latin typeface="Arial" panose="020B0604020202020204"/>
            </a:rPr>
            <a:t> </a:t>
          </a:r>
          <a:endParaRPr lang="en-US"/>
        </a:p>
      </dgm:t>
    </dgm:pt>
    <dgm:pt modelId="{0AFF9B63-73C5-4038-9FB3-65C3BFE195E9}" type="parTrans" cxnId="{F9184AB1-D325-424C-A9A7-CA53002BF54F}">
      <dgm:prSet/>
      <dgm:spPr/>
      <dgm:t>
        <a:bodyPr/>
        <a:lstStyle/>
        <a:p>
          <a:endParaRPr lang="nb-NO"/>
        </a:p>
      </dgm:t>
    </dgm:pt>
    <dgm:pt modelId="{1E7E7C64-26BD-426D-8E2F-645DA30952C8}" type="sibTrans" cxnId="{F9184AB1-D325-424C-A9A7-CA53002BF54F}">
      <dgm:prSet/>
      <dgm:spPr/>
      <dgm:t>
        <a:bodyPr/>
        <a:lstStyle/>
        <a:p>
          <a:endParaRPr lang="nb-NO"/>
        </a:p>
      </dgm:t>
    </dgm:pt>
    <dgm:pt modelId="{D334E164-8106-41C1-91C1-0CC14439B609}">
      <dgm:prSet/>
      <dgm:spPr/>
      <dgm:t>
        <a:bodyPr/>
        <a:lstStyle/>
        <a:p>
          <a:r>
            <a:rPr lang="en-US"/>
            <a:t>DFØ </a:t>
          </a:r>
          <a:r>
            <a:rPr lang="en-US" err="1"/>
            <a:t>Systemopplæring</a:t>
          </a:r>
          <a:endParaRPr lang="en-US"/>
        </a:p>
      </dgm:t>
    </dgm:pt>
    <dgm:pt modelId="{A3A7D78A-9B97-4532-814C-762F04B44BF0}" type="parTrans" cxnId="{E52A48B5-F325-4FD8-9C5C-6A505CCCA23F}">
      <dgm:prSet/>
      <dgm:spPr/>
      <dgm:t>
        <a:bodyPr/>
        <a:lstStyle/>
        <a:p>
          <a:endParaRPr lang="nb-NO"/>
        </a:p>
      </dgm:t>
    </dgm:pt>
    <dgm:pt modelId="{7C42AC64-B451-4362-A569-C13893AFB23E}" type="sibTrans" cxnId="{E52A48B5-F325-4FD8-9C5C-6A505CCCA23F}">
      <dgm:prSet/>
      <dgm:spPr/>
      <dgm:t>
        <a:bodyPr/>
        <a:lstStyle/>
        <a:p>
          <a:endParaRPr lang="nb-NO"/>
        </a:p>
      </dgm:t>
    </dgm:pt>
    <dgm:pt modelId="{794BF44F-66A2-4270-93EB-964C3C023992}">
      <dgm:prSet/>
      <dgm:spPr/>
      <dgm:t>
        <a:bodyPr/>
        <a:lstStyle/>
        <a:p>
          <a:r>
            <a:rPr lang="en-US"/>
            <a:t>e-</a:t>
          </a:r>
          <a:r>
            <a:rPr lang="en-US" err="1"/>
            <a:t>læring</a:t>
          </a:r>
          <a:r>
            <a:rPr lang="en-US"/>
            <a:t> </a:t>
          </a:r>
          <a:r>
            <a:rPr lang="en-US" err="1"/>
            <a:t>innkjøper</a:t>
          </a:r>
          <a:endParaRPr lang="en-US"/>
        </a:p>
      </dgm:t>
    </dgm:pt>
    <dgm:pt modelId="{2EEBF906-B397-46A2-9143-7F5577B19BE7}" type="parTrans" cxnId="{CF78BFA3-72FD-47E6-AB79-7135FBF1F4E1}">
      <dgm:prSet/>
      <dgm:spPr/>
      <dgm:t>
        <a:bodyPr/>
        <a:lstStyle/>
        <a:p>
          <a:endParaRPr lang="nb-NO"/>
        </a:p>
      </dgm:t>
    </dgm:pt>
    <dgm:pt modelId="{C7D41B97-3234-4C33-8168-17996E6E1DFA}" type="sibTrans" cxnId="{CF78BFA3-72FD-47E6-AB79-7135FBF1F4E1}">
      <dgm:prSet/>
      <dgm:spPr/>
      <dgm:t>
        <a:bodyPr/>
        <a:lstStyle/>
        <a:p>
          <a:endParaRPr lang="nb-NO"/>
        </a:p>
      </dgm:t>
    </dgm:pt>
    <dgm:pt modelId="{67E1ACAA-E3C9-4123-A621-0E00FDE9BCC4}">
      <dgm:prSet/>
      <dgm:spPr/>
      <dgm:t>
        <a:bodyPr/>
        <a:lstStyle/>
        <a:p>
          <a:r>
            <a:rPr lang="en-US"/>
            <a:t>05.12.22 </a:t>
          </a:r>
          <a:r>
            <a:rPr lang="en-US" err="1"/>
            <a:t>Forberedelse</a:t>
          </a:r>
          <a:r>
            <a:rPr lang="en-US"/>
            <a:t> til </a:t>
          </a:r>
          <a:r>
            <a:rPr lang="en-US" err="1"/>
            <a:t>systemopplæring</a:t>
          </a:r>
          <a:endParaRPr lang="en-US"/>
        </a:p>
      </dgm:t>
    </dgm:pt>
    <dgm:pt modelId="{783D39D8-7D64-4297-83BD-30FB35B3F78C}" type="parTrans" cxnId="{C8378E03-0CE7-499D-B1A9-BE0677A9317F}">
      <dgm:prSet/>
      <dgm:spPr/>
      <dgm:t>
        <a:bodyPr/>
        <a:lstStyle/>
        <a:p>
          <a:endParaRPr lang="nb-NO"/>
        </a:p>
      </dgm:t>
    </dgm:pt>
    <dgm:pt modelId="{2A3638A7-0837-4ABF-A8F3-5BD42B815C13}" type="sibTrans" cxnId="{C8378E03-0CE7-499D-B1A9-BE0677A9317F}">
      <dgm:prSet/>
      <dgm:spPr/>
      <dgm:t>
        <a:bodyPr/>
        <a:lstStyle/>
        <a:p>
          <a:endParaRPr lang="nb-NO"/>
        </a:p>
      </dgm:t>
    </dgm:pt>
    <dgm:pt modelId="{E270C549-FFED-42C4-BF4C-52B6616C59BF}">
      <dgm:prSet/>
      <dgm:spPr/>
      <dgm:t>
        <a:bodyPr/>
        <a:lstStyle/>
        <a:p>
          <a:r>
            <a:rPr lang="en-US" sz="1400" kern="1200"/>
            <a:t>12.,13.14. des: </a:t>
          </a:r>
          <a:r>
            <a:rPr lang="en-US" sz="1400" kern="1200" err="1"/>
            <a:t>Innkjøpsforespørsel</a:t>
          </a:r>
          <a:r>
            <a:rPr lang="en-US" sz="1400" kern="1200"/>
            <a:t> og </a:t>
          </a:r>
          <a:r>
            <a:rPr lang="en-US" sz="1400" kern="1200" err="1"/>
            <a:t>inngående</a:t>
          </a:r>
          <a:r>
            <a:rPr lang="en-US" sz="1400" kern="1200"/>
            <a:t> faktura </a:t>
          </a:r>
        </a:p>
      </dgm:t>
    </dgm:pt>
    <dgm:pt modelId="{8DEDEB7A-6446-4DC7-A702-87A7B841AEC9}" type="parTrans" cxnId="{50CA3DC5-4E90-4847-967B-F75DF7277571}">
      <dgm:prSet/>
      <dgm:spPr/>
      <dgm:t>
        <a:bodyPr/>
        <a:lstStyle/>
        <a:p>
          <a:endParaRPr lang="nb-NO"/>
        </a:p>
      </dgm:t>
    </dgm:pt>
    <dgm:pt modelId="{42B9FE8A-153D-4BBC-BA9D-28C7450E2B61}" type="sibTrans" cxnId="{50CA3DC5-4E90-4847-967B-F75DF7277571}">
      <dgm:prSet/>
      <dgm:spPr/>
      <dgm:t>
        <a:bodyPr/>
        <a:lstStyle/>
        <a:p>
          <a:endParaRPr lang="nb-NO"/>
        </a:p>
      </dgm:t>
    </dgm:pt>
    <dgm:pt modelId="{CF19C3FB-3B21-46BC-BBBB-99DA0AD17931}">
      <dgm:prSet/>
      <dgm:spPr/>
      <dgm:t>
        <a:bodyPr/>
        <a:lstStyle/>
        <a:p>
          <a:r>
            <a:rPr lang="en-US"/>
            <a:t>BOTT-</a:t>
          </a:r>
          <a:r>
            <a:rPr lang="en-US" err="1"/>
            <a:t>samarbeidet</a:t>
          </a:r>
          <a:r>
            <a:rPr lang="en-US"/>
            <a:t> for nye </a:t>
          </a:r>
          <a:r>
            <a:rPr lang="en-US" err="1"/>
            <a:t>prosesser</a:t>
          </a:r>
          <a:r>
            <a:rPr lang="en-US"/>
            <a:t> og </a:t>
          </a:r>
          <a:r>
            <a:rPr lang="en-US" err="1"/>
            <a:t>rutiner</a:t>
          </a:r>
          <a:endParaRPr lang="en-US"/>
        </a:p>
      </dgm:t>
    </dgm:pt>
    <dgm:pt modelId="{2622D995-7ED7-4F64-9750-74773577041A}" type="parTrans" cxnId="{085BBC3E-D2FE-438E-953F-9EDC8E51F448}">
      <dgm:prSet/>
      <dgm:spPr/>
      <dgm:t>
        <a:bodyPr/>
        <a:lstStyle/>
        <a:p>
          <a:endParaRPr lang="nb-NO"/>
        </a:p>
      </dgm:t>
    </dgm:pt>
    <dgm:pt modelId="{6950BE50-685A-4EB0-8EE0-3ED4708D5490}" type="sibTrans" cxnId="{085BBC3E-D2FE-438E-953F-9EDC8E51F448}">
      <dgm:prSet/>
      <dgm:spPr/>
      <dgm:t>
        <a:bodyPr/>
        <a:lstStyle/>
        <a:p>
          <a:endParaRPr lang="nb-NO"/>
        </a:p>
      </dgm:t>
    </dgm:pt>
    <dgm:pt modelId="{D00C6547-56D9-4CAD-B117-1204F487ED1D}">
      <dgm:prSet/>
      <dgm:spPr/>
      <dgm:t>
        <a:bodyPr/>
        <a:lstStyle/>
        <a:p>
          <a:r>
            <a:rPr lang="en-US" sz="1400" kern="1200"/>
            <a:t>10.,11.,12. des: </a:t>
          </a:r>
          <a:r>
            <a:rPr lang="en-US" sz="1400" kern="1200" err="1"/>
            <a:t>Inngående</a:t>
          </a:r>
          <a:r>
            <a:rPr lang="en-US" sz="1400" kern="1200"/>
            <a:t> faktura</a:t>
          </a:r>
        </a:p>
      </dgm:t>
    </dgm:pt>
    <dgm:pt modelId="{6FDB3327-DBE4-4B31-8EC3-FF1910AFC7C2}" type="parTrans" cxnId="{C221B6E3-FF39-4EB6-914C-436A305BF564}">
      <dgm:prSet/>
      <dgm:spPr/>
      <dgm:t>
        <a:bodyPr/>
        <a:lstStyle/>
        <a:p>
          <a:endParaRPr lang="nb-NO"/>
        </a:p>
      </dgm:t>
    </dgm:pt>
    <dgm:pt modelId="{FBB5604E-5CC0-4DC0-ABF6-96E05F91E95A}" type="sibTrans" cxnId="{C221B6E3-FF39-4EB6-914C-436A305BF564}">
      <dgm:prSet/>
      <dgm:spPr/>
      <dgm:t>
        <a:bodyPr/>
        <a:lstStyle/>
        <a:p>
          <a:endParaRPr lang="nb-NO"/>
        </a:p>
      </dgm:t>
    </dgm:pt>
    <dgm:pt modelId="{30A8661E-BAB5-4BE1-AFC4-18B2391284CD}">
      <dgm:prSet/>
      <dgm:spPr/>
      <dgm:t>
        <a:bodyPr/>
        <a:lstStyle/>
        <a:p>
          <a:r>
            <a:rPr lang="en-US"/>
            <a:t>19.12.22 Samling </a:t>
          </a:r>
          <a:r>
            <a:rPr lang="en-US" err="1"/>
            <a:t>etter</a:t>
          </a:r>
          <a:r>
            <a:rPr lang="en-US"/>
            <a:t> </a:t>
          </a:r>
          <a:r>
            <a:rPr lang="en-US" err="1"/>
            <a:t>systemopplæring</a:t>
          </a:r>
          <a:endParaRPr lang="en-US"/>
        </a:p>
      </dgm:t>
    </dgm:pt>
    <dgm:pt modelId="{C256F227-1FC9-46F7-92DE-C804E9621291}" type="parTrans" cxnId="{9FB9955E-01C6-4308-B7A6-A5778C927B2C}">
      <dgm:prSet/>
      <dgm:spPr/>
      <dgm:t>
        <a:bodyPr/>
        <a:lstStyle/>
        <a:p>
          <a:endParaRPr lang="nb-NO"/>
        </a:p>
      </dgm:t>
    </dgm:pt>
    <dgm:pt modelId="{F6CFE641-718A-4F07-B9F6-9188A8CC073F}" type="sibTrans" cxnId="{9FB9955E-01C6-4308-B7A6-A5778C927B2C}">
      <dgm:prSet/>
      <dgm:spPr/>
      <dgm:t>
        <a:bodyPr/>
        <a:lstStyle/>
        <a:p>
          <a:endParaRPr lang="nb-NO"/>
        </a:p>
      </dgm:t>
    </dgm:pt>
    <dgm:pt modelId="{CEF8A54C-5903-4A4C-B197-5C7B8E476C5B}">
      <dgm:prSet/>
      <dgm:spPr/>
      <dgm:t>
        <a:bodyPr/>
        <a:lstStyle/>
        <a:p>
          <a:r>
            <a:rPr lang="en-US" sz="1400" kern="1200" err="1">
              <a:solidFill>
                <a:srgbClr val="FF0000"/>
              </a:solidFill>
            </a:rPr>
            <a:t>Der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må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meld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der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på</a:t>
          </a:r>
          <a:r>
            <a:rPr lang="en-US" sz="1400" kern="1200">
              <a:solidFill>
                <a:srgbClr val="FF0000"/>
              </a:solidFill>
            </a:rPr>
            <a:t> til DFØ via </a:t>
          </a:r>
          <a:r>
            <a:rPr lang="en-US" sz="1400" kern="1200" err="1">
              <a:solidFill>
                <a:srgbClr val="FF0000"/>
              </a:solidFill>
            </a:rPr>
            <a:t>påmeldingslink</a:t>
          </a:r>
          <a:r>
            <a:rPr lang="en-US" sz="1400" kern="1200">
              <a:solidFill>
                <a:srgbClr val="FF0000"/>
              </a:solidFill>
            </a:rPr>
            <a:t> i </a:t>
          </a:r>
          <a:r>
            <a:rPr lang="en-US" sz="1400" kern="1200" err="1">
              <a:solidFill>
                <a:srgbClr val="FF0000"/>
              </a:solidFill>
            </a:rPr>
            <a:t>kalenderinvitasjon</a:t>
          </a:r>
          <a:r>
            <a:rPr lang="en-US" sz="1400" kern="1200">
              <a:solidFill>
                <a:srgbClr val="FF0000"/>
              </a:solidFill>
            </a:rPr>
            <a:t> (Frist 05.12 kl.22) </a:t>
          </a:r>
          <a:endParaRPr lang="en-US" sz="1400" kern="1200"/>
        </a:p>
      </dgm:t>
    </dgm:pt>
    <dgm:pt modelId="{5BDFB078-DB64-4321-8D3E-734EF05E0796}" type="parTrans" cxnId="{3E10D968-59AE-498B-A2C4-207C93AE0685}">
      <dgm:prSet/>
      <dgm:spPr/>
      <dgm:t>
        <a:bodyPr/>
        <a:lstStyle/>
        <a:p>
          <a:endParaRPr lang="nb-NO"/>
        </a:p>
      </dgm:t>
    </dgm:pt>
    <dgm:pt modelId="{0B230533-A42B-4FD3-8E5E-422CE4966C2F}" type="sibTrans" cxnId="{3E10D968-59AE-498B-A2C4-207C93AE0685}">
      <dgm:prSet/>
      <dgm:spPr/>
      <dgm:t>
        <a:bodyPr/>
        <a:lstStyle/>
        <a:p>
          <a:endParaRPr lang="nb-NO"/>
        </a:p>
      </dgm:t>
    </dgm:pt>
    <dgm:pt modelId="{4BA2768D-C0E6-4739-9125-1394928B0725}">
      <dgm:prSet custT="1"/>
      <dgm:spPr/>
      <dgm:t>
        <a:bodyPr/>
        <a:lstStyle/>
        <a:p>
          <a:r>
            <a:rPr lang="en-US" sz="1400" kern="1200" err="1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Sjekk</a:t>
          </a:r>
          <a:r>
            <a:rPr lang="en-US" sz="1400" kern="1200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en-US" sz="1400" kern="1200" err="1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pålogging</a:t>
          </a:r>
          <a:r>
            <a:rPr lang="en-US" sz="1400" kern="1200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en-US" sz="1400" kern="1200" err="1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før</a:t>
          </a:r>
          <a:r>
            <a:rPr lang="en-US" sz="1400" kern="1200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en-US" sz="1400" kern="1200" err="1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kurs</a:t>
          </a:r>
          <a:endParaRPr lang="en-US" sz="1400" kern="1200">
            <a:solidFill>
              <a:srgbClr val="FF0000"/>
            </a:solidFill>
            <a:latin typeface="Arial" panose="020B0604020202020204"/>
            <a:ea typeface="+mn-ea"/>
            <a:cs typeface="+mn-cs"/>
          </a:endParaRPr>
        </a:p>
      </dgm:t>
    </dgm:pt>
    <dgm:pt modelId="{87E2A896-9D3B-4B21-8884-44B60EFFEC94}" type="parTrans" cxnId="{0CB38A82-530C-4C28-940A-CC7EECB663E4}">
      <dgm:prSet/>
      <dgm:spPr/>
      <dgm:t>
        <a:bodyPr/>
        <a:lstStyle/>
        <a:p>
          <a:endParaRPr lang="nb-NO"/>
        </a:p>
      </dgm:t>
    </dgm:pt>
    <dgm:pt modelId="{693F54D6-CA5A-4F7F-BF1B-D41B689D48DE}" type="sibTrans" cxnId="{0CB38A82-530C-4C28-940A-CC7EECB663E4}">
      <dgm:prSet/>
      <dgm:spPr/>
      <dgm:t>
        <a:bodyPr/>
        <a:lstStyle/>
        <a:p>
          <a:endParaRPr lang="nb-NO"/>
        </a:p>
      </dgm:t>
    </dgm:pt>
    <dgm:pt modelId="{B9112265-13D2-48F6-93C2-F102321F8444}" type="pres">
      <dgm:prSet presAssocID="{3F0E920E-9192-49B9-A3AD-C70FD43F888E}" presName="linear" presStyleCnt="0">
        <dgm:presLayoutVars>
          <dgm:dir/>
          <dgm:animLvl val="lvl"/>
          <dgm:resizeHandles val="exact"/>
        </dgm:presLayoutVars>
      </dgm:prSet>
      <dgm:spPr/>
    </dgm:pt>
    <dgm:pt modelId="{9E814468-6C0B-43A2-A37A-5EB16B5EFC08}" type="pres">
      <dgm:prSet presAssocID="{41CFC889-6DE7-40EA-8C72-17E545475C37}" presName="parentLin" presStyleCnt="0"/>
      <dgm:spPr/>
    </dgm:pt>
    <dgm:pt modelId="{8FD902FF-4F6A-44D7-8E49-152562837A62}" type="pres">
      <dgm:prSet presAssocID="{41CFC889-6DE7-40EA-8C72-17E545475C37}" presName="parentLeftMargin" presStyleLbl="node1" presStyleIdx="0" presStyleCnt="3"/>
      <dgm:spPr/>
    </dgm:pt>
    <dgm:pt modelId="{955F4EDA-02A4-4907-B9D2-9DA15863E28A}" type="pres">
      <dgm:prSet presAssocID="{41CFC889-6DE7-40EA-8C72-17E545475C37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4CD2088-9777-40A2-80F4-59F524A62781}" type="pres">
      <dgm:prSet presAssocID="{41CFC889-6DE7-40EA-8C72-17E545475C37}" presName="negativeSpace" presStyleCnt="0"/>
      <dgm:spPr/>
    </dgm:pt>
    <dgm:pt modelId="{ADCF2BF8-6E1B-4172-9288-B09668FFD91B}" type="pres">
      <dgm:prSet presAssocID="{41CFC889-6DE7-40EA-8C72-17E545475C37}" presName="childText" presStyleLbl="conFgAcc1" presStyleIdx="0" presStyleCnt="3" custLinFactNeighborX="100" custLinFactNeighborY="20939">
        <dgm:presLayoutVars>
          <dgm:bulletEnabled val="1"/>
        </dgm:presLayoutVars>
      </dgm:prSet>
      <dgm:spPr/>
    </dgm:pt>
    <dgm:pt modelId="{C549B681-56AC-402F-A9EC-D0FED1D1A289}" type="pres">
      <dgm:prSet presAssocID="{1E7E7C64-26BD-426D-8E2F-645DA30952C8}" presName="spaceBetweenRectangles" presStyleCnt="0"/>
      <dgm:spPr/>
    </dgm:pt>
    <dgm:pt modelId="{3C3908DE-A245-4B18-9029-A719C1216CCE}" type="pres">
      <dgm:prSet presAssocID="{28FB88C4-C609-43F4-9557-D28CCE6674C2}" presName="parentLin" presStyleCnt="0"/>
      <dgm:spPr/>
    </dgm:pt>
    <dgm:pt modelId="{36FE5F9F-698B-4263-AD2D-8F1B38952897}" type="pres">
      <dgm:prSet presAssocID="{28FB88C4-C609-43F4-9557-D28CCE6674C2}" presName="parentLeftMargin" presStyleLbl="node1" presStyleIdx="0" presStyleCnt="3"/>
      <dgm:spPr/>
    </dgm:pt>
    <dgm:pt modelId="{623783B2-9564-4800-B02C-8290F499A476}" type="pres">
      <dgm:prSet presAssocID="{28FB88C4-C609-43F4-9557-D28CCE6674C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FD0953E-9F36-42D0-9C1C-5AAA581C08B5}" type="pres">
      <dgm:prSet presAssocID="{28FB88C4-C609-43F4-9557-D28CCE6674C2}" presName="negativeSpace" presStyleCnt="0"/>
      <dgm:spPr/>
    </dgm:pt>
    <dgm:pt modelId="{782625D8-8EC9-4AD1-9400-7C9934872CC1}" type="pres">
      <dgm:prSet presAssocID="{28FB88C4-C609-43F4-9557-D28CCE6674C2}" presName="childText" presStyleLbl="conFgAcc1" presStyleIdx="1" presStyleCnt="3">
        <dgm:presLayoutVars>
          <dgm:bulletEnabled val="1"/>
        </dgm:presLayoutVars>
      </dgm:prSet>
      <dgm:spPr/>
    </dgm:pt>
    <dgm:pt modelId="{478BED3C-4B6A-43AA-90C2-5863A3A6C2D8}" type="pres">
      <dgm:prSet presAssocID="{16F3C3F4-942F-45AC-A1C9-D430258150A1}" presName="spaceBetweenRectangles" presStyleCnt="0"/>
      <dgm:spPr/>
    </dgm:pt>
    <dgm:pt modelId="{26E4AFAA-2839-4AC4-8F99-706837D426DD}" type="pres">
      <dgm:prSet presAssocID="{D334E164-8106-41C1-91C1-0CC14439B609}" presName="parentLin" presStyleCnt="0"/>
      <dgm:spPr/>
    </dgm:pt>
    <dgm:pt modelId="{044974E1-B8AC-4FC5-8634-5EA30B751115}" type="pres">
      <dgm:prSet presAssocID="{D334E164-8106-41C1-91C1-0CC14439B609}" presName="parentLeftMargin" presStyleLbl="node1" presStyleIdx="1" presStyleCnt="3"/>
      <dgm:spPr/>
    </dgm:pt>
    <dgm:pt modelId="{A8E1E1C6-8C95-4607-AD6D-5B02C39B72C5}" type="pres">
      <dgm:prSet presAssocID="{D334E164-8106-41C1-91C1-0CC14439B609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2C84110-8F0B-4163-91E6-24421608898E}" type="pres">
      <dgm:prSet presAssocID="{D334E164-8106-41C1-91C1-0CC14439B609}" presName="negativeSpace" presStyleCnt="0"/>
      <dgm:spPr/>
    </dgm:pt>
    <dgm:pt modelId="{F928400C-56CF-41B4-83BB-5FEFCC589BF0}" type="pres">
      <dgm:prSet presAssocID="{D334E164-8106-41C1-91C1-0CC14439B609}" presName="childText" presStyleLbl="conFgAcc1" presStyleIdx="2" presStyleCnt="3" custLinFactNeighborY="7500">
        <dgm:presLayoutVars>
          <dgm:bulletEnabled val="1"/>
        </dgm:presLayoutVars>
      </dgm:prSet>
      <dgm:spPr/>
    </dgm:pt>
  </dgm:ptLst>
  <dgm:cxnLst>
    <dgm:cxn modelId="{C8378E03-0CE7-499D-B1A9-BE0677A9317F}" srcId="{28FB88C4-C609-43F4-9557-D28CCE6674C2}" destId="{67E1ACAA-E3C9-4123-A621-0E00FDE9BCC4}" srcOrd="0" destOrd="0" parTransId="{783D39D8-7D64-4297-83BD-30FB35B3F78C}" sibTransId="{2A3638A7-0837-4ABF-A8F3-5BD42B815C13}"/>
    <dgm:cxn modelId="{E06DD10D-58B7-42B8-9856-52E27A054D78}" type="presOf" srcId="{28FB88C4-C609-43F4-9557-D28CCE6674C2}" destId="{623783B2-9564-4800-B02C-8290F499A476}" srcOrd="1" destOrd="0" presId="urn:microsoft.com/office/officeart/2005/8/layout/list1"/>
    <dgm:cxn modelId="{737E3630-D564-4F05-B453-84E492F30EB0}" type="presOf" srcId="{794BF44F-66A2-4270-93EB-964C3C023992}" destId="{ADCF2BF8-6E1B-4172-9288-B09668FFD91B}" srcOrd="0" destOrd="0" presId="urn:microsoft.com/office/officeart/2005/8/layout/list1"/>
    <dgm:cxn modelId="{28FD0832-2ED4-42E5-A3E8-DDA3B7956AAE}" type="presOf" srcId="{D334E164-8106-41C1-91C1-0CC14439B609}" destId="{044974E1-B8AC-4FC5-8634-5EA30B751115}" srcOrd="0" destOrd="0" presId="urn:microsoft.com/office/officeart/2005/8/layout/list1"/>
    <dgm:cxn modelId="{90471434-EB8A-4A32-BF62-E90A6413D5A1}" type="presOf" srcId="{D00C6547-56D9-4CAD-B117-1204F487ED1D}" destId="{F928400C-56CF-41B4-83BB-5FEFCC589BF0}" srcOrd="0" destOrd="1" presId="urn:microsoft.com/office/officeart/2005/8/layout/list1"/>
    <dgm:cxn modelId="{085BBC3E-D2FE-438E-953F-9EDC8E51F448}" srcId="{41CFC889-6DE7-40EA-8C72-17E545475C37}" destId="{CF19C3FB-3B21-46BC-BBBB-99DA0AD17931}" srcOrd="1" destOrd="0" parTransId="{2622D995-7ED7-4F64-9750-74773577041A}" sibTransId="{6950BE50-685A-4EB0-8EE0-3ED4708D5490}"/>
    <dgm:cxn modelId="{9FB9955E-01C6-4308-B7A6-A5778C927B2C}" srcId="{28FB88C4-C609-43F4-9557-D28CCE6674C2}" destId="{30A8661E-BAB5-4BE1-AFC4-18B2391284CD}" srcOrd="1" destOrd="0" parTransId="{C256F227-1FC9-46F7-92DE-C804E9621291}" sibTransId="{F6CFE641-718A-4F07-B9F6-9188A8CC073F}"/>
    <dgm:cxn modelId="{CEAFEB63-491C-4577-83B7-B6263E2E8884}" type="presOf" srcId="{67E1ACAA-E3C9-4123-A621-0E00FDE9BCC4}" destId="{782625D8-8EC9-4AD1-9400-7C9934872CC1}" srcOrd="0" destOrd="0" presId="urn:microsoft.com/office/officeart/2005/8/layout/list1"/>
    <dgm:cxn modelId="{C2883247-87F7-4873-8509-36665ACA3BA4}" type="presOf" srcId="{30A8661E-BAB5-4BE1-AFC4-18B2391284CD}" destId="{782625D8-8EC9-4AD1-9400-7C9934872CC1}" srcOrd="0" destOrd="1" presId="urn:microsoft.com/office/officeart/2005/8/layout/list1"/>
    <dgm:cxn modelId="{E87F0548-A570-4EBD-BB54-4ED0B9DC3682}" type="presOf" srcId="{CEF8A54C-5903-4A4C-B197-5C7B8E476C5B}" destId="{F928400C-56CF-41B4-83BB-5FEFCC589BF0}" srcOrd="0" destOrd="2" presId="urn:microsoft.com/office/officeart/2005/8/layout/list1"/>
    <dgm:cxn modelId="{3E10D968-59AE-498B-A2C4-207C93AE0685}" srcId="{D334E164-8106-41C1-91C1-0CC14439B609}" destId="{CEF8A54C-5903-4A4C-B197-5C7B8E476C5B}" srcOrd="2" destOrd="0" parTransId="{5BDFB078-DB64-4321-8D3E-734EF05E0796}" sibTransId="{0B230533-A42B-4FD3-8E5E-422CE4966C2F}"/>
    <dgm:cxn modelId="{510E7B53-4138-4010-8C3D-2ACFBCDDA11C}" type="presOf" srcId="{28FB88C4-C609-43F4-9557-D28CCE6674C2}" destId="{36FE5F9F-698B-4263-AD2D-8F1B38952897}" srcOrd="0" destOrd="0" presId="urn:microsoft.com/office/officeart/2005/8/layout/list1"/>
    <dgm:cxn modelId="{9755C376-4485-48F9-80E3-8E585C526BDD}" type="presOf" srcId="{E270C549-FFED-42C4-BF4C-52B6616C59BF}" destId="{F928400C-56CF-41B4-83BB-5FEFCC589BF0}" srcOrd="0" destOrd="0" presId="urn:microsoft.com/office/officeart/2005/8/layout/list1"/>
    <dgm:cxn modelId="{0CB38A82-530C-4C28-940A-CC7EECB663E4}" srcId="{D334E164-8106-41C1-91C1-0CC14439B609}" destId="{4BA2768D-C0E6-4739-9125-1394928B0725}" srcOrd="3" destOrd="0" parTransId="{87E2A896-9D3B-4B21-8884-44B60EFFEC94}" sibTransId="{693F54D6-CA5A-4F7F-BF1B-D41B689D48DE}"/>
    <dgm:cxn modelId="{9EFFB994-9633-442C-A3DD-25B76F577EF0}" type="presOf" srcId="{41CFC889-6DE7-40EA-8C72-17E545475C37}" destId="{8FD902FF-4F6A-44D7-8E49-152562837A62}" srcOrd="0" destOrd="0" presId="urn:microsoft.com/office/officeart/2005/8/layout/list1"/>
    <dgm:cxn modelId="{CF78BFA3-72FD-47E6-AB79-7135FBF1F4E1}" srcId="{41CFC889-6DE7-40EA-8C72-17E545475C37}" destId="{794BF44F-66A2-4270-93EB-964C3C023992}" srcOrd="0" destOrd="0" parTransId="{2EEBF906-B397-46A2-9143-7F5577B19BE7}" sibTransId="{C7D41B97-3234-4C33-8168-17996E6E1DFA}"/>
    <dgm:cxn modelId="{F9184AB1-D325-424C-A9A7-CA53002BF54F}" srcId="{3F0E920E-9192-49B9-A3AD-C70FD43F888E}" destId="{41CFC889-6DE7-40EA-8C72-17E545475C37}" srcOrd="0" destOrd="0" parTransId="{0AFF9B63-73C5-4038-9FB3-65C3BFE195E9}" sibTransId="{1E7E7C64-26BD-426D-8E2F-645DA30952C8}"/>
    <dgm:cxn modelId="{E52A48B5-F325-4FD8-9C5C-6A505CCCA23F}" srcId="{3F0E920E-9192-49B9-A3AD-C70FD43F888E}" destId="{D334E164-8106-41C1-91C1-0CC14439B609}" srcOrd="2" destOrd="0" parTransId="{A3A7D78A-9B97-4532-814C-762F04B44BF0}" sibTransId="{7C42AC64-B451-4362-A569-C13893AFB23E}"/>
    <dgm:cxn modelId="{50CA3DC5-4E90-4847-967B-F75DF7277571}" srcId="{D334E164-8106-41C1-91C1-0CC14439B609}" destId="{E270C549-FFED-42C4-BF4C-52B6616C59BF}" srcOrd="0" destOrd="0" parTransId="{8DEDEB7A-6446-4DC7-A702-87A7B841AEC9}" sibTransId="{42B9FE8A-153D-4BBC-BA9D-28C7450E2B61}"/>
    <dgm:cxn modelId="{ED2ED0CB-B90C-4F70-BCB2-48CFE37CE1DA}" type="presOf" srcId="{3F0E920E-9192-49B9-A3AD-C70FD43F888E}" destId="{B9112265-13D2-48F6-93C2-F102321F8444}" srcOrd="0" destOrd="0" presId="urn:microsoft.com/office/officeart/2005/8/layout/list1"/>
    <dgm:cxn modelId="{97EB4BD0-C53E-40FA-947B-D73FDAA01D09}" type="presOf" srcId="{4BA2768D-C0E6-4739-9125-1394928B0725}" destId="{F928400C-56CF-41B4-83BB-5FEFCC589BF0}" srcOrd="0" destOrd="3" presId="urn:microsoft.com/office/officeart/2005/8/layout/list1"/>
    <dgm:cxn modelId="{639D9CE1-17F3-4416-8549-8EABADAA32D4}" type="presOf" srcId="{D334E164-8106-41C1-91C1-0CC14439B609}" destId="{A8E1E1C6-8C95-4607-AD6D-5B02C39B72C5}" srcOrd="1" destOrd="0" presId="urn:microsoft.com/office/officeart/2005/8/layout/list1"/>
    <dgm:cxn modelId="{C221B6E3-FF39-4EB6-914C-436A305BF564}" srcId="{D334E164-8106-41C1-91C1-0CC14439B609}" destId="{D00C6547-56D9-4CAD-B117-1204F487ED1D}" srcOrd="1" destOrd="0" parTransId="{6FDB3327-DBE4-4B31-8EC3-FF1910AFC7C2}" sibTransId="{FBB5604E-5CC0-4DC0-ABF6-96E05F91E95A}"/>
    <dgm:cxn modelId="{7D1ECEF0-0B93-483C-9F41-722A246D48D9}" srcId="{3F0E920E-9192-49B9-A3AD-C70FD43F888E}" destId="{28FB88C4-C609-43F4-9557-D28CCE6674C2}" srcOrd="1" destOrd="0" parTransId="{E9200CAD-1510-4591-8424-B440DE098771}" sibTransId="{16F3C3F4-942F-45AC-A1C9-D430258150A1}"/>
    <dgm:cxn modelId="{DBCFE4F3-279A-405E-9D4B-21AA7894C992}" type="presOf" srcId="{41CFC889-6DE7-40EA-8C72-17E545475C37}" destId="{955F4EDA-02A4-4907-B9D2-9DA15863E28A}" srcOrd="1" destOrd="0" presId="urn:microsoft.com/office/officeart/2005/8/layout/list1"/>
    <dgm:cxn modelId="{93A211F7-C4AE-4AF2-844A-42CABF41B5EE}" type="presOf" srcId="{CF19C3FB-3B21-46BC-BBBB-99DA0AD17931}" destId="{ADCF2BF8-6E1B-4172-9288-B09668FFD91B}" srcOrd="0" destOrd="1" presId="urn:microsoft.com/office/officeart/2005/8/layout/list1"/>
    <dgm:cxn modelId="{363EE26C-A5C5-4A10-88F7-83D6E95CCE4F}" type="presParOf" srcId="{B9112265-13D2-48F6-93C2-F102321F8444}" destId="{9E814468-6C0B-43A2-A37A-5EB16B5EFC08}" srcOrd="0" destOrd="0" presId="urn:microsoft.com/office/officeart/2005/8/layout/list1"/>
    <dgm:cxn modelId="{909818D5-7A1D-4026-B6C4-00FFE9F9C70B}" type="presParOf" srcId="{9E814468-6C0B-43A2-A37A-5EB16B5EFC08}" destId="{8FD902FF-4F6A-44D7-8E49-152562837A62}" srcOrd="0" destOrd="0" presId="urn:microsoft.com/office/officeart/2005/8/layout/list1"/>
    <dgm:cxn modelId="{C78D5616-1993-4AB9-A053-FF5E48EEE4E3}" type="presParOf" srcId="{9E814468-6C0B-43A2-A37A-5EB16B5EFC08}" destId="{955F4EDA-02A4-4907-B9D2-9DA15863E28A}" srcOrd="1" destOrd="0" presId="urn:microsoft.com/office/officeart/2005/8/layout/list1"/>
    <dgm:cxn modelId="{4A885AC7-10CE-4D77-9119-DEA4C3D321E7}" type="presParOf" srcId="{B9112265-13D2-48F6-93C2-F102321F8444}" destId="{74CD2088-9777-40A2-80F4-59F524A62781}" srcOrd="1" destOrd="0" presId="urn:microsoft.com/office/officeart/2005/8/layout/list1"/>
    <dgm:cxn modelId="{AC06CC17-5F6C-4FC5-B792-17DE2C959D0B}" type="presParOf" srcId="{B9112265-13D2-48F6-93C2-F102321F8444}" destId="{ADCF2BF8-6E1B-4172-9288-B09668FFD91B}" srcOrd="2" destOrd="0" presId="urn:microsoft.com/office/officeart/2005/8/layout/list1"/>
    <dgm:cxn modelId="{A02C1874-EB86-469D-87CB-17E216E6BBF1}" type="presParOf" srcId="{B9112265-13D2-48F6-93C2-F102321F8444}" destId="{C549B681-56AC-402F-A9EC-D0FED1D1A289}" srcOrd="3" destOrd="0" presId="urn:microsoft.com/office/officeart/2005/8/layout/list1"/>
    <dgm:cxn modelId="{06496E62-CFDA-4E27-A1DA-B15BC5F049C8}" type="presParOf" srcId="{B9112265-13D2-48F6-93C2-F102321F8444}" destId="{3C3908DE-A245-4B18-9029-A719C1216CCE}" srcOrd="4" destOrd="0" presId="urn:microsoft.com/office/officeart/2005/8/layout/list1"/>
    <dgm:cxn modelId="{CE808AC6-F46A-4161-8FEA-0A5F24A1D0BF}" type="presParOf" srcId="{3C3908DE-A245-4B18-9029-A719C1216CCE}" destId="{36FE5F9F-698B-4263-AD2D-8F1B38952897}" srcOrd="0" destOrd="0" presId="urn:microsoft.com/office/officeart/2005/8/layout/list1"/>
    <dgm:cxn modelId="{F58B1717-ED64-412F-B47C-C7604A4E36C7}" type="presParOf" srcId="{3C3908DE-A245-4B18-9029-A719C1216CCE}" destId="{623783B2-9564-4800-B02C-8290F499A476}" srcOrd="1" destOrd="0" presId="urn:microsoft.com/office/officeart/2005/8/layout/list1"/>
    <dgm:cxn modelId="{C88BD77D-F7D7-4800-8FCD-58F9DF245938}" type="presParOf" srcId="{B9112265-13D2-48F6-93C2-F102321F8444}" destId="{5FD0953E-9F36-42D0-9C1C-5AAA581C08B5}" srcOrd="5" destOrd="0" presId="urn:microsoft.com/office/officeart/2005/8/layout/list1"/>
    <dgm:cxn modelId="{568A5237-71F2-49E0-BC98-F576C3DF1865}" type="presParOf" srcId="{B9112265-13D2-48F6-93C2-F102321F8444}" destId="{782625D8-8EC9-4AD1-9400-7C9934872CC1}" srcOrd="6" destOrd="0" presId="urn:microsoft.com/office/officeart/2005/8/layout/list1"/>
    <dgm:cxn modelId="{441F3783-527E-42FC-9986-C8EBD302EA10}" type="presParOf" srcId="{B9112265-13D2-48F6-93C2-F102321F8444}" destId="{478BED3C-4B6A-43AA-90C2-5863A3A6C2D8}" srcOrd="7" destOrd="0" presId="urn:microsoft.com/office/officeart/2005/8/layout/list1"/>
    <dgm:cxn modelId="{C6E09E57-6F29-433B-8C39-1ED017854170}" type="presParOf" srcId="{B9112265-13D2-48F6-93C2-F102321F8444}" destId="{26E4AFAA-2839-4AC4-8F99-706837D426DD}" srcOrd="8" destOrd="0" presId="urn:microsoft.com/office/officeart/2005/8/layout/list1"/>
    <dgm:cxn modelId="{D23C389E-369D-47E7-A5E4-22512006949A}" type="presParOf" srcId="{26E4AFAA-2839-4AC4-8F99-706837D426DD}" destId="{044974E1-B8AC-4FC5-8634-5EA30B751115}" srcOrd="0" destOrd="0" presId="urn:microsoft.com/office/officeart/2005/8/layout/list1"/>
    <dgm:cxn modelId="{AD4C7008-9EE3-46F9-956B-5EDC61B03A6D}" type="presParOf" srcId="{26E4AFAA-2839-4AC4-8F99-706837D426DD}" destId="{A8E1E1C6-8C95-4607-AD6D-5B02C39B72C5}" srcOrd="1" destOrd="0" presId="urn:microsoft.com/office/officeart/2005/8/layout/list1"/>
    <dgm:cxn modelId="{0A6A79B7-C17B-4549-A21A-8E11CA3C7856}" type="presParOf" srcId="{B9112265-13D2-48F6-93C2-F102321F8444}" destId="{B2C84110-8F0B-4163-91E6-24421608898E}" srcOrd="9" destOrd="0" presId="urn:microsoft.com/office/officeart/2005/8/layout/list1"/>
    <dgm:cxn modelId="{50262576-CEEB-4106-A43B-EC507DE8414A}" type="presParOf" srcId="{B9112265-13D2-48F6-93C2-F102321F8444}" destId="{F928400C-56CF-41B4-83BB-5FEFCC589BF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F26713-7102-4DBA-975A-66261E72AAEA}">
      <dsp:nvSpPr>
        <dsp:cNvPr id="0" name=""/>
        <dsp:cNvSpPr/>
      </dsp:nvSpPr>
      <dsp:spPr>
        <a:xfrm>
          <a:off x="0" y="1831873"/>
          <a:ext cx="1056469" cy="528234"/>
        </a:xfrm>
        <a:prstGeom prst="roundRect">
          <a:avLst>
            <a:gd name="adj" fmla="val 10000"/>
          </a:avLst>
        </a:prstGeom>
        <a:solidFill>
          <a:srgbClr val="E7E6E6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Norge</a:t>
          </a:r>
        </a:p>
      </dsp:txBody>
      <dsp:txXfrm>
        <a:off x="15471" y="1847344"/>
        <a:ext cx="1025527" cy="497292"/>
      </dsp:txXfrm>
    </dsp:sp>
    <dsp:sp modelId="{18AAF45A-A872-4892-BC2E-4A48F7461E51}">
      <dsp:nvSpPr>
        <dsp:cNvPr id="0" name=""/>
        <dsp:cNvSpPr/>
      </dsp:nvSpPr>
      <dsp:spPr>
        <a:xfrm rot="18113264">
          <a:off x="865797" y="1740057"/>
          <a:ext cx="808373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808373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249774" y="1732592"/>
        <a:ext cx="40418" cy="40418"/>
      </dsp:txXfrm>
    </dsp:sp>
    <dsp:sp modelId="{D9079FC4-084B-417F-9031-4C416C90D2F1}">
      <dsp:nvSpPr>
        <dsp:cNvPr id="0" name=""/>
        <dsp:cNvSpPr/>
      </dsp:nvSpPr>
      <dsp:spPr>
        <a:xfrm>
          <a:off x="1483498" y="1145495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498969" y="1160966"/>
        <a:ext cx="1025527" cy="497292"/>
      </dsp:txXfrm>
    </dsp:sp>
    <dsp:sp modelId="{A49805BE-C9B6-4B1D-844D-DAF0B1AD8566}">
      <dsp:nvSpPr>
        <dsp:cNvPr id="0" name=""/>
        <dsp:cNvSpPr/>
      </dsp:nvSpPr>
      <dsp:spPr>
        <a:xfrm rot="18770822">
          <a:off x="2440555" y="1169067"/>
          <a:ext cx="621413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621413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735726" y="1166276"/>
        <a:ext cx="31070" cy="31070"/>
      </dsp:txXfrm>
    </dsp:sp>
    <dsp:sp modelId="{8969B42D-6BC3-4B8A-936A-5F8A3F47BE5B}">
      <dsp:nvSpPr>
        <dsp:cNvPr id="0" name=""/>
        <dsp:cNvSpPr/>
      </dsp:nvSpPr>
      <dsp:spPr>
        <a:xfrm>
          <a:off x="2962556" y="689892"/>
          <a:ext cx="1056469" cy="528234"/>
        </a:xfrm>
        <a:prstGeom prst="roundRect">
          <a:avLst>
            <a:gd name="adj" fmla="val 10000"/>
          </a:avLst>
        </a:prstGeom>
        <a:solidFill>
          <a:srgbClr val="E6ECFF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8027" y="705363"/>
        <a:ext cx="1025527" cy="497292"/>
      </dsp:txXfrm>
    </dsp:sp>
    <dsp:sp modelId="{3BECF918-4C3C-43E0-BF8A-E565DB2BF452}">
      <dsp:nvSpPr>
        <dsp:cNvPr id="0" name=""/>
        <dsp:cNvSpPr/>
      </dsp:nvSpPr>
      <dsp:spPr>
        <a:xfrm rot="19457599">
          <a:off x="3970110" y="789398"/>
          <a:ext cx="52041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520418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4217309" y="789132"/>
        <a:ext cx="26020" cy="26020"/>
      </dsp:txXfrm>
    </dsp:sp>
    <dsp:sp modelId="{FE716DB4-7587-49B7-809D-5F1386BB1CD6}">
      <dsp:nvSpPr>
        <dsp:cNvPr id="0" name=""/>
        <dsp:cNvSpPr/>
      </dsp:nvSpPr>
      <dsp:spPr>
        <a:xfrm>
          <a:off x="4441613" y="386157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MVA</a:t>
          </a:r>
        </a:p>
      </dsp:txBody>
      <dsp:txXfrm>
        <a:off x="4457084" y="401628"/>
        <a:ext cx="1025527" cy="497292"/>
      </dsp:txXfrm>
    </dsp:sp>
    <dsp:sp modelId="{3B9B0C84-CA2A-4B43-8B9F-23E48F48F101}">
      <dsp:nvSpPr>
        <dsp:cNvPr id="0" name=""/>
        <dsp:cNvSpPr/>
      </dsp:nvSpPr>
      <dsp:spPr>
        <a:xfrm>
          <a:off x="5498083" y="63753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5698812" y="639710"/>
        <a:ext cx="21129" cy="21129"/>
      </dsp:txXfrm>
    </dsp:sp>
    <dsp:sp modelId="{1EDE3657-9361-45D4-8779-221B86CB8224}">
      <dsp:nvSpPr>
        <dsp:cNvPr id="0" name=""/>
        <dsp:cNvSpPr/>
      </dsp:nvSpPr>
      <dsp:spPr>
        <a:xfrm>
          <a:off x="5920671" y="386157"/>
          <a:ext cx="1056469" cy="528234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1 =25 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2 =15 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3 =12 %</a:t>
          </a:r>
        </a:p>
      </dsp:txBody>
      <dsp:txXfrm>
        <a:off x="5936142" y="401628"/>
        <a:ext cx="1025527" cy="497292"/>
      </dsp:txXfrm>
    </dsp:sp>
    <dsp:sp modelId="{2B6D0068-6FE3-4E8F-9B82-B843E2583135}">
      <dsp:nvSpPr>
        <dsp:cNvPr id="0" name=""/>
        <dsp:cNvSpPr/>
      </dsp:nvSpPr>
      <dsp:spPr>
        <a:xfrm rot="2142401">
          <a:off x="3970110" y="1093133"/>
          <a:ext cx="52041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520418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17309" y="1092867"/>
        <a:ext cx="26020" cy="26020"/>
      </dsp:txXfrm>
    </dsp:sp>
    <dsp:sp modelId="{DE53E6FF-8053-4340-BBC3-BBFB0CB950E3}">
      <dsp:nvSpPr>
        <dsp:cNvPr id="0" name=""/>
        <dsp:cNvSpPr/>
      </dsp:nvSpPr>
      <dsp:spPr>
        <a:xfrm>
          <a:off x="4441613" y="993627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MVA</a:t>
          </a:r>
        </a:p>
      </dsp:txBody>
      <dsp:txXfrm>
        <a:off x="4457084" y="1009098"/>
        <a:ext cx="1025527" cy="497292"/>
      </dsp:txXfrm>
    </dsp:sp>
    <dsp:sp modelId="{9722A232-C995-43BC-92E2-A31941DEDBDC}">
      <dsp:nvSpPr>
        <dsp:cNvPr id="0" name=""/>
        <dsp:cNvSpPr/>
      </dsp:nvSpPr>
      <dsp:spPr>
        <a:xfrm>
          <a:off x="5498083" y="124500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698812" y="1247180"/>
        <a:ext cx="21129" cy="21129"/>
      </dsp:txXfrm>
    </dsp:sp>
    <dsp:sp modelId="{90246D3B-7CFF-4286-B91D-370AB937192B}">
      <dsp:nvSpPr>
        <dsp:cNvPr id="0" name=""/>
        <dsp:cNvSpPr/>
      </dsp:nvSpPr>
      <dsp:spPr>
        <a:xfrm>
          <a:off x="5920671" y="993627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 =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g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avgift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5936142" y="1009098"/>
        <a:ext cx="1025527" cy="497292"/>
      </dsp:txXfrm>
    </dsp:sp>
    <dsp:sp modelId="{C048F627-A16E-441F-BE95-82699C43DB92}">
      <dsp:nvSpPr>
        <dsp:cNvPr id="0" name=""/>
        <dsp:cNvSpPr/>
      </dsp:nvSpPr>
      <dsp:spPr>
        <a:xfrm rot="2829178">
          <a:off x="2440555" y="1624670"/>
          <a:ext cx="621413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621413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</a:sysClr>
          </a:solidFill>
          <a:prstDash val="solid"/>
          <a:round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735726" y="1621878"/>
        <a:ext cx="31070" cy="31070"/>
      </dsp:txXfrm>
    </dsp:sp>
    <dsp:sp modelId="{DB0624BA-3CD6-4834-9F25-7EBE37F63C46}">
      <dsp:nvSpPr>
        <dsp:cNvPr id="0" name=""/>
        <dsp:cNvSpPr/>
      </dsp:nvSpPr>
      <dsp:spPr>
        <a:xfrm>
          <a:off x="2962556" y="1601098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8027" y="1616569"/>
        <a:ext cx="1025527" cy="497292"/>
      </dsp:txXfrm>
    </dsp:sp>
    <dsp:sp modelId="{EDC0D4A2-0AA7-41E9-B99B-8C152250EC05}">
      <dsp:nvSpPr>
        <dsp:cNvPr id="0" name=""/>
        <dsp:cNvSpPr/>
      </dsp:nvSpPr>
      <dsp:spPr>
        <a:xfrm>
          <a:off x="4019025" y="185247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19755" y="1854650"/>
        <a:ext cx="21129" cy="21129"/>
      </dsp:txXfrm>
    </dsp:sp>
    <dsp:sp modelId="{76A8198E-A103-4ED6-8C85-2368D377D598}">
      <dsp:nvSpPr>
        <dsp:cNvPr id="0" name=""/>
        <dsp:cNvSpPr/>
      </dsp:nvSpPr>
      <dsp:spPr>
        <a:xfrm>
          <a:off x="4441613" y="1601098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25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1 = 15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2 = 12%</a:t>
          </a:r>
        </a:p>
      </dsp:txBody>
      <dsp:txXfrm>
        <a:off x="4457084" y="1616569"/>
        <a:ext cx="1025527" cy="497292"/>
      </dsp:txXfrm>
    </dsp:sp>
    <dsp:sp modelId="{6C9636C7-2499-4F2B-852A-AC08ABF57691}">
      <dsp:nvSpPr>
        <dsp:cNvPr id="0" name=""/>
        <dsp:cNvSpPr/>
      </dsp:nvSpPr>
      <dsp:spPr>
        <a:xfrm rot="3473290">
          <a:off x="868319" y="2423461"/>
          <a:ext cx="803329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803329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1249900" y="2416122"/>
        <a:ext cx="40166" cy="40166"/>
      </dsp:txXfrm>
    </dsp:sp>
    <dsp:sp modelId="{684602D2-1D85-4FF4-8913-BFFF9DD703E8}">
      <dsp:nvSpPr>
        <dsp:cNvPr id="0" name=""/>
        <dsp:cNvSpPr/>
      </dsp:nvSpPr>
      <dsp:spPr>
        <a:xfrm>
          <a:off x="1483498" y="2512303"/>
          <a:ext cx="1056469" cy="528234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498969" y="2527774"/>
        <a:ext cx="1025527" cy="497292"/>
      </dsp:txXfrm>
    </dsp:sp>
    <dsp:sp modelId="{9FE69F9C-51EE-4341-8F5F-9CC37E67BEE2}">
      <dsp:nvSpPr>
        <dsp:cNvPr id="0" name=""/>
        <dsp:cNvSpPr/>
      </dsp:nvSpPr>
      <dsp:spPr>
        <a:xfrm rot="19457599">
          <a:off x="2491052" y="2611808"/>
          <a:ext cx="52041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520418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738251" y="2611542"/>
        <a:ext cx="26020" cy="26020"/>
      </dsp:txXfrm>
    </dsp:sp>
    <dsp:sp modelId="{8454E545-8B1A-4930-A9A9-C602660A793D}">
      <dsp:nvSpPr>
        <dsp:cNvPr id="0" name=""/>
        <dsp:cNvSpPr/>
      </dsp:nvSpPr>
      <dsp:spPr>
        <a:xfrm>
          <a:off x="2962556" y="2208568"/>
          <a:ext cx="1056469" cy="528234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8027" y="2224039"/>
        <a:ext cx="1025527" cy="497292"/>
      </dsp:txXfrm>
    </dsp:sp>
    <dsp:sp modelId="{817C6FF2-65ED-4BA3-9B31-F6061CC281AD}">
      <dsp:nvSpPr>
        <dsp:cNvPr id="0" name=""/>
        <dsp:cNvSpPr/>
      </dsp:nvSpPr>
      <dsp:spPr>
        <a:xfrm>
          <a:off x="4019025" y="245994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19755" y="2462120"/>
        <a:ext cx="21129" cy="21129"/>
      </dsp:txXfrm>
    </dsp:sp>
    <dsp:sp modelId="{CF03E51F-14B7-49E6-83FE-176353D8ECA8}">
      <dsp:nvSpPr>
        <dsp:cNvPr id="0" name=""/>
        <dsp:cNvSpPr/>
      </dsp:nvSpPr>
      <dsp:spPr>
        <a:xfrm>
          <a:off x="4441613" y="2208568"/>
          <a:ext cx="1056469" cy="528234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0 =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ansett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ats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(%)</a:t>
          </a:r>
        </a:p>
      </dsp:txBody>
      <dsp:txXfrm>
        <a:off x="4457084" y="2224039"/>
        <a:ext cx="1025527" cy="497292"/>
      </dsp:txXfrm>
    </dsp:sp>
    <dsp:sp modelId="{7C518A94-1528-4C35-B34E-3D2730B7BAA1}">
      <dsp:nvSpPr>
        <dsp:cNvPr id="0" name=""/>
        <dsp:cNvSpPr/>
      </dsp:nvSpPr>
      <dsp:spPr>
        <a:xfrm rot="2142401">
          <a:off x="2491052" y="2915544"/>
          <a:ext cx="52041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520418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738251" y="2915277"/>
        <a:ext cx="26020" cy="26020"/>
      </dsp:txXfrm>
    </dsp:sp>
    <dsp:sp modelId="{727EE19F-11FB-4DA9-88EF-6AEFD77BCF4A}">
      <dsp:nvSpPr>
        <dsp:cNvPr id="0" name=""/>
        <dsp:cNvSpPr/>
      </dsp:nvSpPr>
      <dsp:spPr>
        <a:xfrm>
          <a:off x="2962556" y="2816038"/>
          <a:ext cx="1056469" cy="528234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8027" y="2831509"/>
        <a:ext cx="1025527" cy="497292"/>
      </dsp:txXfrm>
    </dsp:sp>
    <dsp:sp modelId="{1466BECD-2692-4786-AD54-872B3C8C30CC}">
      <dsp:nvSpPr>
        <dsp:cNvPr id="0" name=""/>
        <dsp:cNvSpPr/>
      </dsp:nvSpPr>
      <dsp:spPr>
        <a:xfrm>
          <a:off x="4019025" y="306741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19755" y="3069590"/>
        <a:ext cx="21129" cy="21129"/>
      </dsp:txXfrm>
    </dsp:sp>
    <dsp:sp modelId="{ABE652F6-97EC-42D9-8CD8-540BE506F0DE}">
      <dsp:nvSpPr>
        <dsp:cNvPr id="0" name=""/>
        <dsp:cNvSpPr/>
      </dsp:nvSpPr>
      <dsp:spPr>
        <a:xfrm>
          <a:off x="4441613" y="2816038"/>
          <a:ext cx="1056469" cy="528234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 = 25%</a:t>
          </a:r>
          <a:b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M = 15%</a:t>
          </a:r>
          <a:b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12%</a:t>
          </a:r>
        </a:p>
      </dsp:txBody>
      <dsp:txXfrm>
        <a:off x="4457084" y="2831509"/>
        <a:ext cx="1025527" cy="497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25BD50-D79D-4CC3-9755-0DA3E2D8E3FD}">
      <dsp:nvSpPr>
        <dsp:cNvPr id="0" name=""/>
        <dsp:cNvSpPr/>
      </dsp:nvSpPr>
      <dsp:spPr>
        <a:xfrm>
          <a:off x="1594688" y="1554106"/>
          <a:ext cx="988451" cy="494225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landet</a:t>
          </a:r>
          <a:endParaRPr lang="en-US" sz="1100" kern="1200"/>
        </a:p>
      </dsp:txBody>
      <dsp:txXfrm>
        <a:off x="1609163" y="1568581"/>
        <a:ext cx="959501" cy="465275"/>
      </dsp:txXfrm>
    </dsp:sp>
    <dsp:sp modelId="{D93CA1E7-1E9E-40F3-BD60-501BD0921ADB}">
      <dsp:nvSpPr>
        <dsp:cNvPr id="0" name=""/>
        <dsp:cNvSpPr/>
      </dsp:nvSpPr>
      <dsp:spPr>
        <a:xfrm rot="17717070">
          <a:off x="2316586" y="1367197"/>
          <a:ext cx="930564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930564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8604" y="1357248"/>
        <a:ext cx="46528" cy="46528"/>
      </dsp:txXfrm>
    </dsp:sp>
    <dsp:sp modelId="{18E32922-F51C-40B9-BC52-EAC7F334A273}">
      <dsp:nvSpPr>
        <dsp:cNvPr id="0" name=""/>
        <dsp:cNvSpPr/>
      </dsp:nvSpPr>
      <dsp:spPr>
        <a:xfrm>
          <a:off x="2980596" y="71269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Vare</a:t>
          </a:r>
          <a:endParaRPr lang="en-US" sz="1100" kern="1200"/>
        </a:p>
      </dsp:txBody>
      <dsp:txXfrm>
        <a:off x="2995071" y="727167"/>
        <a:ext cx="959501" cy="465275"/>
      </dsp:txXfrm>
    </dsp:sp>
    <dsp:sp modelId="{25A113C8-8072-43F9-89D4-9ED32583A830}">
      <dsp:nvSpPr>
        <dsp:cNvPr id="0" name=""/>
        <dsp:cNvSpPr/>
      </dsp:nvSpPr>
      <dsp:spPr>
        <a:xfrm rot="18770822">
          <a:off x="3876036" y="733355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732135"/>
        <a:ext cx="29070" cy="29070"/>
      </dsp:txXfrm>
    </dsp:sp>
    <dsp:sp modelId="{03F1BF70-1109-4C0A-A4E7-965962B6CD26}">
      <dsp:nvSpPr>
        <dsp:cNvPr id="0" name=""/>
        <dsp:cNvSpPr/>
      </dsp:nvSpPr>
      <dsp:spPr>
        <a:xfrm>
          <a:off x="4364429" y="28642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en</a:t>
          </a:r>
          <a:r>
            <a:rPr lang="en-US" sz="1100" kern="1200"/>
            <a:t>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300897"/>
        <a:ext cx="959501" cy="465275"/>
      </dsp:txXfrm>
    </dsp:sp>
    <dsp:sp modelId="{3A41823B-86F3-406F-A054-374247C2ECAB}">
      <dsp:nvSpPr>
        <dsp:cNvPr id="0" name=""/>
        <dsp:cNvSpPr/>
      </dsp:nvSpPr>
      <dsp:spPr>
        <a:xfrm rot="19457599">
          <a:off x="5307114" y="378130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8398" y="379272"/>
        <a:ext cx="24345" cy="24345"/>
      </dsp:txXfrm>
    </dsp:sp>
    <dsp:sp modelId="{79A8959C-0267-4FB7-8B78-A9B4D9B32B12}">
      <dsp:nvSpPr>
        <dsp:cNvPr id="0" name=""/>
        <dsp:cNvSpPr/>
      </dsp:nvSpPr>
      <dsp:spPr>
        <a:xfrm>
          <a:off x="5748261" y="2242"/>
          <a:ext cx="988451" cy="494225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0 = 25%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7 = 15%</a:t>
          </a:r>
        </a:p>
      </dsp:txBody>
      <dsp:txXfrm>
        <a:off x="5762736" y="16717"/>
        <a:ext cx="959501" cy="465275"/>
      </dsp:txXfrm>
    </dsp:sp>
    <dsp:sp modelId="{547094B5-6C7F-4543-AC5F-6BB8797E1833}">
      <dsp:nvSpPr>
        <dsp:cNvPr id="0" name=""/>
        <dsp:cNvSpPr/>
      </dsp:nvSpPr>
      <dsp:spPr>
        <a:xfrm rot="2142401">
          <a:off x="5307114" y="662310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538398" y="663452"/>
        <a:ext cx="24345" cy="24345"/>
      </dsp:txXfrm>
    </dsp:sp>
    <dsp:sp modelId="{B850CD55-517E-4C23-963D-66006E75A232}">
      <dsp:nvSpPr>
        <dsp:cNvPr id="0" name=""/>
        <dsp:cNvSpPr/>
      </dsp:nvSpPr>
      <dsp:spPr>
        <a:xfrm>
          <a:off x="5748261" y="57060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0 = 0%</a:t>
          </a:r>
        </a:p>
      </dsp:txBody>
      <dsp:txXfrm>
        <a:off x="5762736" y="585077"/>
        <a:ext cx="959501" cy="465275"/>
      </dsp:txXfrm>
    </dsp:sp>
    <dsp:sp modelId="{E0A73A1B-2B97-45BA-8A57-D9AA1DC86B87}">
      <dsp:nvSpPr>
        <dsp:cNvPr id="0" name=""/>
        <dsp:cNvSpPr/>
      </dsp:nvSpPr>
      <dsp:spPr>
        <a:xfrm rot="2829178">
          <a:off x="3876036" y="1159624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1158405"/>
        <a:ext cx="29070" cy="29070"/>
      </dsp:txXfrm>
    </dsp:sp>
    <dsp:sp modelId="{FB5F17FA-01F3-4DCE-AFEF-3373A9A37BF6}">
      <dsp:nvSpPr>
        <dsp:cNvPr id="0" name=""/>
        <dsp:cNvSpPr/>
      </dsp:nvSpPr>
      <dsp:spPr>
        <a:xfrm>
          <a:off x="4364429" y="113896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Med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1153437"/>
        <a:ext cx="959501" cy="465275"/>
      </dsp:txXfrm>
    </dsp:sp>
    <dsp:sp modelId="{40279CE7-C3F4-4DF6-A02A-837932E68076}">
      <dsp:nvSpPr>
        <dsp:cNvPr id="0" name=""/>
        <dsp:cNvSpPr/>
      </dsp:nvSpPr>
      <dsp:spPr>
        <a:xfrm>
          <a:off x="5352881" y="1372759"/>
          <a:ext cx="39538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39538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40686" y="1376190"/>
        <a:ext cx="19769" cy="19769"/>
      </dsp:txXfrm>
    </dsp:sp>
    <dsp:sp modelId="{35148660-7C1E-4AB3-94A2-9D39BDC2272C}">
      <dsp:nvSpPr>
        <dsp:cNvPr id="0" name=""/>
        <dsp:cNvSpPr/>
      </dsp:nvSpPr>
      <dsp:spPr>
        <a:xfrm>
          <a:off x="5748261" y="113896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1 = 25%</a:t>
          </a:r>
          <a:br>
            <a:rPr lang="en-US" sz="1100" kern="1200"/>
          </a:br>
          <a:r>
            <a:rPr lang="en-US" sz="1100" kern="1200"/>
            <a:t>22 = 15%</a:t>
          </a:r>
          <a:br>
            <a:rPr lang="en-US" sz="1100" kern="1200"/>
          </a:br>
          <a:r>
            <a:rPr lang="en-US" sz="1100" kern="1200"/>
            <a:t>23 =  0% </a:t>
          </a:r>
        </a:p>
      </dsp:txBody>
      <dsp:txXfrm>
        <a:off x="5762736" y="1153437"/>
        <a:ext cx="959501" cy="465275"/>
      </dsp:txXfrm>
    </dsp:sp>
    <dsp:sp modelId="{06917447-A603-4E65-9FC2-D499E1F092C8}">
      <dsp:nvSpPr>
        <dsp:cNvPr id="0" name=""/>
        <dsp:cNvSpPr/>
      </dsp:nvSpPr>
      <dsp:spPr>
        <a:xfrm rot="3917293">
          <a:off x="2306503" y="2219736"/>
          <a:ext cx="95073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95073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8100" y="2209283"/>
        <a:ext cx="47536" cy="47536"/>
      </dsp:txXfrm>
    </dsp:sp>
    <dsp:sp modelId="{12149BDC-7429-4A3D-9F11-5B0D56CBA094}">
      <dsp:nvSpPr>
        <dsp:cNvPr id="0" name=""/>
        <dsp:cNvSpPr/>
      </dsp:nvSpPr>
      <dsp:spPr>
        <a:xfrm>
          <a:off x="2980596" y="241777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Tjeneste</a:t>
          </a:r>
          <a:endParaRPr lang="en-US" sz="1100" kern="1200"/>
        </a:p>
      </dsp:txBody>
      <dsp:txXfrm>
        <a:off x="2995071" y="2432246"/>
        <a:ext cx="959501" cy="465275"/>
      </dsp:txXfrm>
    </dsp:sp>
    <dsp:sp modelId="{4E210524-63B2-46BA-88BF-AC994F784DB7}">
      <dsp:nvSpPr>
        <dsp:cNvPr id="0" name=""/>
        <dsp:cNvSpPr/>
      </dsp:nvSpPr>
      <dsp:spPr>
        <a:xfrm rot="18770822">
          <a:off x="3876036" y="2438434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2437214"/>
        <a:ext cx="29070" cy="29070"/>
      </dsp:txXfrm>
    </dsp:sp>
    <dsp:sp modelId="{4B83A63A-0E02-44BF-83A2-84E9F47A9FCB}">
      <dsp:nvSpPr>
        <dsp:cNvPr id="0" name=""/>
        <dsp:cNvSpPr/>
      </dsp:nvSpPr>
      <dsp:spPr>
        <a:xfrm>
          <a:off x="4364429" y="199150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en</a:t>
          </a:r>
          <a:r>
            <a:rPr lang="en-US" sz="1100" kern="1200"/>
            <a:t>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2005976"/>
        <a:ext cx="959501" cy="465275"/>
      </dsp:txXfrm>
    </dsp:sp>
    <dsp:sp modelId="{48694CCC-1391-4EF4-9C30-31C1DA88B29F}">
      <dsp:nvSpPr>
        <dsp:cNvPr id="0" name=""/>
        <dsp:cNvSpPr/>
      </dsp:nvSpPr>
      <dsp:spPr>
        <a:xfrm rot="19457599">
          <a:off x="5307114" y="2083209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8398" y="2084351"/>
        <a:ext cx="24345" cy="24345"/>
      </dsp:txXfrm>
    </dsp:sp>
    <dsp:sp modelId="{2AB8D2D3-677E-4694-8286-F696A483FF85}">
      <dsp:nvSpPr>
        <dsp:cNvPr id="0" name=""/>
        <dsp:cNvSpPr/>
      </dsp:nvSpPr>
      <dsp:spPr>
        <a:xfrm>
          <a:off x="5748261" y="1707321"/>
          <a:ext cx="988451" cy="494225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3T = 25%</a:t>
          </a:r>
        </a:p>
      </dsp:txBody>
      <dsp:txXfrm>
        <a:off x="5762736" y="1721796"/>
        <a:ext cx="959501" cy="465275"/>
      </dsp:txXfrm>
    </dsp:sp>
    <dsp:sp modelId="{27E3EA24-5491-4C95-B15E-8D978E94B454}">
      <dsp:nvSpPr>
        <dsp:cNvPr id="0" name=""/>
        <dsp:cNvSpPr/>
      </dsp:nvSpPr>
      <dsp:spPr>
        <a:xfrm rot="2142401">
          <a:off x="5307114" y="2367389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538398" y="2368531"/>
        <a:ext cx="24345" cy="24345"/>
      </dsp:txXfrm>
    </dsp:sp>
    <dsp:sp modelId="{178EC08F-62C3-4A9B-846C-4004F31D9990}">
      <dsp:nvSpPr>
        <dsp:cNvPr id="0" name=""/>
        <dsp:cNvSpPr/>
      </dsp:nvSpPr>
      <dsp:spPr>
        <a:xfrm>
          <a:off x="5748261" y="2275681"/>
          <a:ext cx="988451" cy="494225"/>
        </a:xfrm>
        <a:prstGeom prst="roundRect">
          <a:avLst>
            <a:gd name="adj" fmla="val 10000"/>
          </a:avLst>
        </a:prstGeom>
        <a:solidFill>
          <a:srgbClr val="B6C8E9">
            <a:lumMod val="20000"/>
            <a:lumOff val="80000"/>
          </a:srgb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0 = 0%</a:t>
          </a:r>
        </a:p>
      </dsp:txBody>
      <dsp:txXfrm>
        <a:off x="5762736" y="2290156"/>
        <a:ext cx="959501" cy="465275"/>
      </dsp:txXfrm>
    </dsp:sp>
    <dsp:sp modelId="{57389D64-B410-41EA-9260-CE8B946EA0F2}">
      <dsp:nvSpPr>
        <dsp:cNvPr id="0" name=""/>
        <dsp:cNvSpPr/>
      </dsp:nvSpPr>
      <dsp:spPr>
        <a:xfrm rot="2829178">
          <a:off x="3876036" y="2864703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2863484"/>
        <a:ext cx="29070" cy="29070"/>
      </dsp:txXfrm>
    </dsp:sp>
    <dsp:sp modelId="{CDFF1039-143D-446D-B7BC-5E69F9DA949F}">
      <dsp:nvSpPr>
        <dsp:cNvPr id="0" name=""/>
        <dsp:cNvSpPr/>
      </dsp:nvSpPr>
      <dsp:spPr>
        <a:xfrm>
          <a:off x="4364429" y="284404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Med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2858516"/>
        <a:ext cx="959501" cy="465275"/>
      </dsp:txXfrm>
    </dsp:sp>
    <dsp:sp modelId="{3DA6CF82-27AE-47F7-A190-D0E2EE674A4B}">
      <dsp:nvSpPr>
        <dsp:cNvPr id="0" name=""/>
        <dsp:cNvSpPr/>
      </dsp:nvSpPr>
      <dsp:spPr>
        <a:xfrm>
          <a:off x="5352881" y="3077838"/>
          <a:ext cx="39538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39538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40686" y="3081269"/>
        <a:ext cx="19769" cy="19769"/>
      </dsp:txXfrm>
    </dsp:sp>
    <dsp:sp modelId="{ED277023-C623-43E2-861F-874ECECE1A17}">
      <dsp:nvSpPr>
        <dsp:cNvPr id="0" name=""/>
        <dsp:cNvSpPr/>
      </dsp:nvSpPr>
      <dsp:spPr>
        <a:xfrm>
          <a:off x="5748261" y="284404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3F = 25%</a:t>
          </a:r>
        </a:p>
      </dsp:txBody>
      <dsp:txXfrm>
        <a:off x="5762736" y="2858516"/>
        <a:ext cx="959501" cy="4652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CF2BF8-6E1B-4172-9288-B09668FFD91B}">
      <dsp:nvSpPr>
        <dsp:cNvPr id="0" name=""/>
        <dsp:cNvSpPr/>
      </dsp:nvSpPr>
      <dsp:spPr>
        <a:xfrm>
          <a:off x="0" y="232596"/>
          <a:ext cx="8418747" cy="793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388" tIns="291592" rIns="65338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e-</a:t>
          </a:r>
          <a:r>
            <a:rPr lang="en-US" sz="1400" kern="1200" err="1"/>
            <a:t>læring</a:t>
          </a:r>
          <a:r>
            <a:rPr lang="en-US" sz="1400" kern="1200"/>
            <a:t> </a:t>
          </a:r>
          <a:r>
            <a:rPr lang="en-US" sz="1400" kern="1200" err="1"/>
            <a:t>innkjøper</a:t>
          </a:r>
          <a:endParaRPr lang="en-US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BOTT-</a:t>
          </a:r>
          <a:r>
            <a:rPr lang="en-US" sz="1400" kern="1200" err="1"/>
            <a:t>samarbeidet</a:t>
          </a:r>
          <a:r>
            <a:rPr lang="en-US" sz="1400" kern="1200"/>
            <a:t> for nye </a:t>
          </a:r>
          <a:r>
            <a:rPr lang="en-US" sz="1400" kern="1200" err="1"/>
            <a:t>prosesser</a:t>
          </a:r>
          <a:r>
            <a:rPr lang="en-US" sz="1400" kern="1200"/>
            <a:t> og </a:t>
          </a:r>
          <a:r>
            <a:rPr lang="en-US" sz="1400" kern="1200" err="1"/>
            <a:t>rutiner</a:t>
          </a:r>
          <a:endParaRPr lang="en-US" sz="1400" kern="1200"/>
        </a:p>
      </dsp:txBody>
      <dsp:txXfrm>
        <a:off x="0" y="232596"/>
        <a:ext cx="8418747" cy="793800"/>
      </dsp:txXfrm>
    </dsp:sp>
    <dsp:sp modelId="{955F4EDA-02A4-4907-B9D2-9DA15863E28A}">
      <dsp:nvSpPr>
        <dsp:cNvPr id="0" name=""/>
        <dsp:cNvSpPr/>
      </dsp:nvSpPr>
      <dsp:spPr>
        <a:xfrm>
          <a:off x="420937" y="10126"/>
          <a:ext cx="5893122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46" tIns="0" rIns="222746" bIns="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Egenlæring</a:t>
          </a:r>
          <a:r>
            <a:rPr lang="en-US" sz="1400" kern="1200">
              <a:latin typeface="Arial" panose="020B0604020202020204"/>
            </a:rPr>
            <a:t> </a:t>
          </a:r>
          <a:endParaRPr lang="en-US" sz="1400" kern="1200"/>
        </a:p>
      </dsp:txBody>
      <dsp:txXfrm>
        <a:off x="441112" y="30301"/>
        <a:ext cx="5852772" cy="372930"/>
      </dsp:txXfrm>
    </dsp:sp>
    <dsp:sp modelId="{782625D8-8EC9-4AD1-9400-7C9934872CC1}">
      <dsp:nvSpPr>
        <dsp:cNvPr id="0" name=""/>
        <dsp:cNvSpPr/>
      </dsp:nvSpPr>
      <dsp:spPr>
        <a:xfrm>
          <a:off x="0" y="1292806"/>
          <a:ext cx="8418747" cy="793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388" tIns="291592" rIns="65338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05.12.22 </a:t>
          </a:r>
          <a:r>
            <a:rPr lang="en-US" sz="1400" kern="1200" err="1"/>
            <a:t>Forberedelse</a:t>
          </a:r>
          <a:r>
            <a:rPr lang="en-US" sz="1400" kern="1200"/>
            <a:t> til </a:t>
          </a:r>
          <a:r>
            <a:rPr lang="en-US" sz="1400" kern="1200" err="1"/>
            <a:t>systemopplæring</a:t>
          </a:r>
          <a:endParaRPr lang="en-US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19.12.22 Samling </a:t>
          </a:r>
          <a:r>
            <a:rPr lang="en-US" sz="1400" kern="1200" err="1"/>
            <a:t>etter</a:t>
          </a:r>
          <a:r>
            <a:rPr lang="en-US" sz="1400" kern="1200"/>
            <a:t> </a:t>
          </a:r>
          <a:r>
            <a:rPr lang="en-US" sz="1400" kern="1200" err="1"/>
            <a:t>systemopplæring</a:t>
          </a:r>
          <a:endParaRPr lang="en-US" sz="1400" kern="1200"/>
        </a:p>
      </dsp:txBody>
      <dsp:txXfrm>
        <a:off x="0" y="1292806"/>
        <a:ext cx="8418747" cy="793800"/>
      </dsp:txXfrm>
    </dsp:sp>
    <dsp:sp modelId="{623783B2-9564-4800-B02C-8290F499A476}">
      <dsp:nvSpPr>
        <dsp:cNvPr id="0" name=""/>
        <dsp:cNvSpPr/>
      </dsp:nvSpPr>
      <dsp:spPr>
        <a:xfrm>
          <a:off x="420937" y="1086166"/>
          <a:ext cx="5893122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46" tIns="0" rIns="222746" bIns="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NTNU kurs</a:t>
          </a:r>
          <a:endParaRPr lang="en-US" sz="1400" kern="1200">
            <a:latin typeface="Arial" panose="020B0604020202020204"/>
          </a:endParaRPr>
        </a:p>
      </dsp:txBody>
      <dsp:txXfrm>
        <a:off x="441112" y="1106341"/>
        <a:ext cx="5852772" cy="372930"/>
      </dsp:txXfrm>
    </dsp:sp>
    <dsp:sp modelId="{F928400C-56CF-41B4-83BB-5FEFCC589BF0}">
      <dsp:nvSpPr>
        <dsp:cNvPr id="0" name=""/>
        <dsp:cNvSpPr/>
      </dsp:nvSpPr>
      <dsp:spPr>
        <a:xfrm>
          <a:off x="0" y="2378974"/>
          <a:ext cx="8418747" cy="123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388" tIns="291592" rIns="65338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12.,13.14. des: </a:t>
          </a:r>
          <a:r>
            <a:rPr lang="en-US" sz="1400" kern="1200" err="1"/>
            <a:t>Innkjøpsforespørsel</a:t>
          </a:r>
          <a:r>
            <a:rPr lang="en-US" sz="1400" kern="1200"/>
            <a:t> og </a:t>
          </a:r>
          <a:r>
            <a:rPr lang="en-US" sz="1400" kern="1200" err="1"/>
            <a:t>inngående</a:t>
          </a:r>
          <a:r>
            <a:rPr lang="en-US" sz="1400" kern="1200"/>
            <a:t> faktura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10.,11.,12. des: </a:t>
          </a:r>
          <a:r>
            <a:rPr lang="en-US" sz="1400" kern="1200" err="1"/>
            <a:t>Inngående</a:t>
          </a:r>
          <a:r>
            <a:rPr lang="en-US" sz="1400" kern="1200"/>
            <a:t> faktur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err="1">
              <a:solidFill>
                <a:srgbClr val="FF0000"/>
              </a:solidFill>
            </a:rPr>
            <a:t>Der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må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meld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der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på</a:t>
          </a:r>
          <a:r>
            <a:rPr lang="en-US" sz="1400" kern="1200">
              <a:solidFill>
                <a:srgbClr val="FF0000"/>
              </a:solidFill>
            </a:rPr>
            <a:t> til DFØ via </a:t>
          </a:r>
          <a:r>
            <a:rPr lang="en-US" sz="1400" kern="1200" err="1">
              <a:solidFill>
                <a:srgbClr val="FF0000"/>
              </a:solidFill>
            </a:rPr>
            <a:t>påmeldingslink</a:t>
          </a:r>
          <a:r>
            <a:rPr lang="en-US" sz="1400" kern="1200">
              <a:solidFill>
                <a:srgbClr val="FF0000"/>
              </a:solidFill>
            </a:rPr>
            <a:t> i </a:t>
          </a:r>
          <a:r>
            <a:rPr lang="en-US" sz="1400" kern="1200" err="1">
              <a:solidFill>
                <a:srgbClr val="FF0000"/>
              </a:solidFill>
            </a:rPr>
            <a:t>kalenderinvitasjon</a:t>
          </a:r>
          <a:r>
            <a:rPr lang="en-US" sz="1400" kern="1200">
              <a:solidFill>
                <a:srgbClr val="FF0000"/>
              </a:solidFill>
            </a:rPr>
            <a:t> (Frist 05.12 kl.22) </a:t>
          </a:r>
          <a:endParaRPr lang="en-US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err="1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Sjekk</a:t>
          </a:r>
          <a:r>
            <a:rPr lang="en-US" sz="1400" kern="1200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en-US" sz="1400" kern="1200" err="1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pålogging</a:t>
          </a:r>
          <a:r>
            <a:rPr lang="en-US" sz="1400" kern="1200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en-US" sz="1400" kern="1200" err="1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før</a:t>
          </a:r>
          <a:r>
            <a:rPr lang="en-US" sz="1400" kern="1200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en-US" sz="1400" kern="1200" err="1">
              <a:solidFill>
                <a:srgbClr val="FF0000"/>
              </a:solidFill>
              <a:latin typeface="Arial" panose="020B0604020202020204"/>
              <a:ea typeface="+mn-ea"/>
              <a:cs typeface="+mn-cs"/>
            </a:rPr>
            <a:t>kurs</a:t>
          </a:r>
          <a:endParaRPr lang="en-US" sz="1400" kern="1200">
            <a:solidFill>
              <a:srgbClr val="FF0000"/>
            </a:solidFill>
            <a:latin typeface="Arial" panose="020B0604020202020204"/>
            <a:ea typeface="+mn-ea"/>
            <a:cs typeface="+mn-cs"/>
          </a:endParaRPr>
        </a:p>
      </dsp:txBody>
      <dsp:txXfrm>
        <a:off x="0" y="2378974"/>
        <a:ext cx="8418747" cy="1234800"/>
      </dsp:txXfrm>
    </dsp:sp>
    <dsp:sp modelId="{A8E1E1C6-8C95-4607-AD6D-5B02C39B72C5}">
      <dsp:nvSpPr>
        <dsp:cNvPr id="0" name=""/>
        <dsp:cNvSpPr/>
      </dsp:nvSpPr>
      <dsp:spPr>
        <a:xfrm>
          <a:off x="420937" y="2162207"/>
          <a:ext cx="5893122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46" tIns="0" rIns="222746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DFØ </a:t>
          </a:r>
          <a:r>
            <a:rPr lang="en-US" sz="1400" kern="1200" err="1"/>
            <a:t>Systemopplæring</a:t>
          </a:r>
          <a:endParaRPr lang="en-US" sz="1400" kern="1200"/>
        </a:p>
      </dsp:txBody>
      <dsp:txXfrm>
        <a:off x="441112" y="2182382"/>
        <a:ext cx="5852772" cy="3729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B5460C-0593-4204-B744-C4DC7BB971AF}" type="datetimeFigureOut">
              <a:rPr lang="nb-NO" smtClean="0"/>
              <a:t>05.12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11CE02-016B-4607-B79A-B59DDB6195E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5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048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5712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37779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8125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89921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73883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59CD87-CB3F-43AD-B570-7AC3017860C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8165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A82D5-02B8-4079-9D1A-0A0654A4C4D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144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37151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79714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3657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6F526-5F83-4071-AA89-73E675B18C10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7097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49022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403575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86042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861458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77660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88430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552368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008083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7421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678835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88746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00160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5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25597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01221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5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5145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0031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6675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338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2885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49354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4469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8084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370480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233990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153207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403093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301017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772425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0586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889753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2907916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985058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279910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91007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7088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266382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553160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708085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21205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0072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64538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949498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05825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063599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384461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944741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05271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52482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369514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928439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90372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823959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302733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042827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085195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58791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7442983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8663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47276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398490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856939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396271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4039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184368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085764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7492314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7375507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489354" y="205979"/>
            <a:ext cx="1254211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4746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140964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0B18C-41EC-487B-B6CE-B9870E3B53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43063" y="1328738"/>
            <a:ext cx="5872163" cy="897230"/>
          </a:xfrm>
        </p:spPr>
        <p:txBody>
          <a:bodyPr anchor="b"/>
          <a:lstStyle>
            <a:lvl1pPr algn="ctr">
              <a:defRPr sz="4500">
                <a:solidFill>
                  <a:schemeClr val="accent6"/>
                </a:solidFill>
              </a:defRPr>
            </a:lvl1pPr>
          </a:lstStyle>
          <a:p>
            <a:r>
              <a:rPr lang="en-US" err="1"/>
              <a:t>Tittel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presentasjon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474B5E-59D5-4F09-91FF-3590EFDC82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43063" y="2740129"/>
            <a:ext cx="5872163" cy="897230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accent6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err="1"/>
              <a:t>Navn</a:t>
            </a:r>
            <a:r>
              <a:rPr lang="en-US"/>
              <a:t>, </a:t>
            </a:r>
            <a:r>
              <a:rPr lang="en-US" err="1"/>
              <a:t>sted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dato</a:t>
            </a:r>
            <a:endParaRPr lang="nb-NO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4374110-04E3-4C62-885E-2624821ADE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" y="51198"/>
            <a:ext cx="1380109" cy="380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E5D155F-2884-43DC-9710-D9DED23E7F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770" y="3533171"/>
            <a:ext cx="4200525" cy="197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4906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8650" y="4733925"/>
            <a:ext cx="2057400" cy="273844"/>
          </a:xfrm>
        </p:spPr>
        <p:txBody>
          <a:bodyPr/>
          <a:lstStyle/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82CFA6A-5ACF-4874-B267-D837407A81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100" y="4115360"/>
            <a:ext cx="2628900" cy="123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5578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farget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Overskrift</a:t>
            </a:r>
            <a:r>
              <a:rPr lang="en-US"/>
              <a:t> 2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8650" y="4733925"/>
            <a:ext cx="2057400" cy="273844"/>
          </a:xfrm>
        </p:spPr>
        <p:txBody>
          <a:bodyPr/>
          <a:lstStyle/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1F5EED2-C4E5-4BDF-B118-4E16AA8B65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100" y="4115360"/>
            <a:ext cx="2628900" cy="123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7367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189" lvl="0" indent="-342892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7529521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301940"/>
            <a:ext cx="8439150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nb-NO" noProof="0"/>
              <a:t>Click to edit Master title style</a:t>
            </a:r>
            <a:endParaRPr lang="nb-NO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552517"/>
            <a:ext cx="843915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nb-NO" noProof="0"/>
              <a:t>Click to add subtitle</a:t>
            </a:r>
            <a:endParaRPr lang="nb-NO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248968"/>
            <a:ext cx="8439150" cy="34754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/>
              <a:t>Edit Master text styles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  <a:p>
            <a:pPr lvl="3"/>
            <a:r>
              <a:rPr lang="nb-NO" noProof="0"/>
              <a:t>Fourth level</a:t>
            </a:r>
            <a:endParaRPr lang="nb-NO"/>
          </a:p>
          <a:p>
            <a:pPr lvl="4"/>
            <a:r>
              <a:rPr lang="nb-NO" noProof="0"/>
              <a:t>Fifth level</a:t>
            </a:r>
            <a:endParaRPr lang="nb-NO"/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262960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0B18C-41EC-487B-B6CE-B9870E3B53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43063" y="1328738"/>
            <a:ext cx="5872163" cy="897230"/>
          </a:xfrm>
        </p:spPr>
        <p:txBody>
          <a:bodyPr anchor="b"/>
          <a:lstStyle>
            <a:lvl1pPr algn="ctr">
              <a:defRPr sz="4500">
                <a:solidFill>
                  <a:schemeClr val="accent6"/>
                </a:solidFill>
              </a:defRPr>
            </a:lvl1pPr>
          </a:lstStyle>
          <a:p>
            <a:r>
              <a:rPr lang="en-US" err="1"/>
              <a:t>Tittel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presentasjon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474B5E-59D5-4F09-91FF-3590EFDC82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43063" y="2740129"/>
            <a:ext cx="5872163" cy="897230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accent6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err="1"/>
              <a:t>Navn</a:t>
            </a:r>
            <a:r>
              <a:rPr lang="en-US"/>
              <a:t>, </a:t>
            </a:r>
            <a:r>
              <a:rPr lang="en-US" err="1"/>
              <a:t>sted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dato</a:t>
            </a:r>
            <a:endParaRPr lang="nb-NO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4374110-04E3-4C62-885E-2624821ADE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" y="51198"/>
            <a:ext cx="1380109" cy="3806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E5D155F-2884-43DC-9710-D9DED23E7F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770" y="3533171"/>
            <a:ext cx="4200525" cy="197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7942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8650" y="4733925"/>
            <a:ext cx="2057400" cy="273844"/>
          </a:xfrm>
        </p:spPr>
        <p:txBody>
          <a:bodyPr/>
          <a:lstStyle/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82CFA6A-5ACF-4874-B267-D837407A81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100" y="4115360"/>
            <a:ext cx="2628900" cy="123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3903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farget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Overskrift</a:t>
            </a:r>
            <a:r>
              <a:rPr lang="en-US"/>
              <a:t> 2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8650" y="4733925"/>
            <a:ext cx="2057400" cy="273844"/>
          </a:xfrm>
        </p:spPr>
        <p:txBody>
          <a:bodyPr/>
          <a:lstStyle/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1F5EED2-C4E5-4BDF-B118-4E16AA8B65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100" y="4115360"/>
            <a:ext cx="2628900" cy="123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5153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82993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oleObject" Target="../embeddings/oleObject6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60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6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1.xml"/><Relationship Id="rId9" Type="http://schemas.openxmlformats.org/officeDocument/2006/relationships/oleObject" Target="../embeddings/oleObject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65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66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3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A59599-34AF-4416-9B68-E8C695306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8334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A59599-34AF-4416-9B68-E8C695306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534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28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7528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EC9471-A79C-4DDA-A5D4-F49B36D71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6451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EC9471-A79C-4DDA-A5D4-F49B36D7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7575"/>
            <a:ext cx="7643091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5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8AD6E-E2C3-43A4-B76F-082A46030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4167591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8AD6E-E2C3-43A4-B76F-082A46030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08650F-D91C-445D-A475-106208C96AB4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D6C931-8CBD-4AA1-9446-8C015E642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1C175-0C31-4487-B668-E72CFDB56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8650" y="4733925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0283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8AD6E-E2C3-43A4-B76F-082A46030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055020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8AD6E-E2C3-43A4-B76F-082A46030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08650F-D91C-445D-A475-106208C96AB4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D6C931-8CBD-4AA1-9446-8C015E642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1C175-0C31-4487-B668-E72CFDB56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8650" y="4733925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8739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universityofbergen.sharepoint.com/:b:/s/KvalitetsrammeverkokonomioglonnBOTT/EQDncA5VK4pPvC8xhKQ03qkB9CijOA6Jz43G5JrasdM9PA?e=sU4jmH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hyperlink" Target="https://universityofbergen.sharepoint.com/:b:/s/KvalitetsrammeverkokonomioglonnBOTT/EXR8sje_sb1MpgAP5qcXmpgBKVZ1vKJEVaF26hJrfSCdDw?e=Vyg0C3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2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38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3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dfo.infocaption.com/376.guide" TargetMode="External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40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4.xml"/><Relationship Id="rId6" Type="http://schemas.openxmlformats.org/officeDocument/2006/relationships/image" Target="../media/image3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38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5.xml"/><Relationship Id="rId6" Type="http://schemas.openxmlformats.org/officeDocument/2006/relationships/image" Target="../media/image37.png"/><Relationship Id="rId5" Type="http://schemas.openxmlformats.org/officeDocument/2006/relationships/hyperlink" Target="https://dfo.infocaption.com/357.guide" TargetMode="External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29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31.bin"/><Relationship Id="rId9" Type="http://schemas.openxmlformats.org/officeDocument/2006/relationships/diagramColors" Target="../diagrams/colors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9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mailto:Oppaering-bott-ol@ntnu.no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Bott+%C3%B8konomi+og+l%C3%B8nn+-+Oppl%C3%A6ring" TargetMode="External"/><Relationship Id="rId3" Type="http://schemas.openxmlformats.org/officeDocument/2006/relationships/notesSlide" Target="../notesSlides/notesSlide31.xml"/><Relationship Id="rId7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0.xml"/><Relationship Id="rId6" Type="http://schemas.openxmlformats.org/officeDocument/2006/relationships/hyperlink" Target="https://www.bott-samarbeidet.no/okonomi/opplering/index.html" TargetMode="External"/><Relationship Id="rId11" Type="http://schemas.openxmlformats.org/officeDocument/2006/relationships/image" Target="../media/image44.svg"/><Relationship Id="rId5" Type="http://schemas.openxmlformats.org/officeDocument/2006/relationships/image" Target="../media/image1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33.bin"/><Relationship Id="rId9" Type="http://schemas.openxmlformats.org/officeDocument/2006/relationships/hyperlink" Target="mailto:opplaering-bott-ol@ntnu.no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51.jpeg"/><Relationship Id="rId18" Type="http://schemas.openxmlformats.org/officeDocument/2006/relationships/image" Target="../media/image56.jpe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59.png"/><Relationship Id="rId7" Type="http://schemas.openxmlformats.org/officeDocument/2006/relationships/image" Target="../media/image45.jpeg"/><Relationship Id="rId12" Type="http://schemas.openxmlformats.org/officeDocument/2006/relationships/image" Target="../media/image50.jpeg"/><Relationship Id="rId17" Type="http://schemas.openxmlformats.org/officeDocument/2006/relationships/image" Target="../media/image55.jpeg"/><Relationship Id="rId2" Type="http://schemas.openxmlformats.org/officeDocument/2006/relationships/tags" Target="../tags/tag43.xml"/><Relationship Id="rId16" Type="http://schemas.openxmlformats.org/officeDocument/2006/relationships/image" Target="../media/image54.jpeg"/><Relationship Id="rId20" Type="http://schemas.openxmlformats.org/officeDocument/2006/relationships/image" Target="../media/image58.jpeg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11" Type="http://schemas.openxmlformats.org/officeDocument/2006/relationships/image" Target="../media/image49.jpeg"/><Relationship Id="rId5" Type="http://schemas.openxmlformats.org/officeDocument/2006/relationships/oleObject" Target="../embeddings/oleObject35.bin"/><Relationship Id="rId15" Type="http://schemas.openxmlformats.org/officeDocument/2006/relationships/image" Target="../media/image53.jpeg"/><Relationship Id="rId10" Type="http://schemas.openxmlformats.org/officeDocument/2006/relationships/image" Target="../media/image48.jpeg"/><Relationship Id="rId19" Type="http://schemas.openxmlformats.org/officeDocument/2006/relationships/image" Target="../media/image57.png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47.jpeg"/><Relationship Id="rId14" Type="http://schemas.openxmlformats.org/officeDocument/2006/relationships/image" Target="../media/image52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61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4.xml"/><Relationship Id="rId6" Type="http://schemas.openxmlformats.org/officeDocument/2006/relationships/image" Target="../media/image6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1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2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7AA266-F56E-437F-A01F-296C153524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632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7AA266-F56E-437F-A01F-296C15352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7" y="1878467"/>
            <a:ext cx="8114088" cy="1138773"/>
          </a:xfrm>
        </p:spPr>
        <p:txBody>
          <a:bodyPr vert="horz"/>
          <a:lstStyle/>
          <a:p>
            <a:pPr algn="ctr"/>
            <a:r>
              <a:rPr lang="nb-NO" sz="3200">
                <a:solidFill>
                  <a:schemeClr val="bg1"/>
                </a:solidFill>
              </a:rPr>
              <a:t>NTNU Kurs 2 - Behov til betaling</a:t>
            </a:r>
            <a:br>
              <a:rPr lang="nb-NO"/>
            </a:br>
            <a:r>
              <a:rPr lang="nb-NO" b="0">
                <a:solidFill>
                  <a:schemeClr val="bg1"/>
                </a:solidFill>
              </a:rPr>
              <a:t>Innkjøper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4956" y="3794190"/>
            <a:ext cx="8114089" cy="598097"/>
          </a:xfrm>
        </p:spPr>
        <p:txBody>
          <a:bodyPr>
            <a:normAutofit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8815" y="1160664"/>
            <a:ext cx="5406359" cy="4332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8694C40-2A8D-4DC4-92C6-3D3387A17632}"/>
              </a:ext>
            </a:extLst>
          </p:cNvPr>
          <p:cNvSpPr/>
          <p:nvPr/>
        </p:nvSpPr>
        <p:spPr>
          <a:xfrm>
            <a:off x="4096550" y="4544295"/>
            <a:ext cx="950901" cy="27699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/>
            <a:r>
              <a:rPr lang="nb-NO" sz="1200">
                <a:solidFill>
                  <a:schemeClr val="bg1">
                    <a:lumMod val="85000"/>
                  </a:schemeClr>
                </a:solidFill>
              </a:rPr>
              <a:t>05.12.2022</a:t>
            </a:r>
            <a:endParaRPr lang="nb-NO" sz="1200">
              <a:solidFill>
                <a:schemeClr val="bg1">
                  <a:lumMod val="8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A313E9-F04F-49A2-B09B-8380EAB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71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A313E9-F04F-49A2-B09B-8380EAB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DACF3A-9624-4BB9-91F7-390F10A5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700687" cy="525401"/>
          </a:xfrm>
        </p:spPr>
        <p:txBody>
          <a:bodyPr vert="horz"/>
          <a:lstStyle/>
          <a:p>
            <a:r>
              <a:rPr lang="nb-NO" sz="2800"/>
              <a:t>Hovedforskjeller: Registrere innkjøpsforespørsel</a:t>
            </a:r>
          </a:p>
        </p:txBody>
      </p:sp>
      <p:sp>
        <p:nvSpPr>
          <p:cNvPr id="13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054762" y="1109633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>
                <a:solidFill>
                  <a:schemeClr val="tx1"/>
                </a:solidFill>
              </a:rPr>
              <a:t>Innkjøpsforespørsel sendes ikke direkte til person, men følger </a:t>
            </a:r>
            <a:r>
              <a:rPr lang="nb-NO" sz="1100" b="1">
                <a:solidFill>
                  <a:schemeClr val="tx2"/>
                </a:solidFill>
              </a:rPr>
              <a:t>automatisk flyt basert på k-sted.</a:t>
            </a:r>
          </a:p>
          <a:p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Dette gjelder både fra fagrekvirent til innkjøper</a:t>
            </a:r>
            <a:r>
              <a:rPr lang="nb-NO" sz="1100" i="1">
                <a:solidFill>
                  <a:schemeClr val="tx1"/>
                </a:solidFill>
                <a:ea typeface="+mn-lt"/>
                <a:cs typeface="+mn-lt"/>
              </a:rPr>
              <a:t>gruppe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, og fra innkjøper til BDM.</a:t>
            </a:r>
            <a:endParaRPr lang="nb-NO">
              <a:solidFill>
                <a:schemeClr val="tx1"/>
              </a:solidFill>
            </a:endParaRPr>
          </a:p>
        </p:txBody>
      </p:sp>
      <p:sp>
        <p:nvSpPr>
          <p:cNvPr id="14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10295" y="1114650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1205432"/>
            <a:ext cx="396697" cy="395531"/>
            <a:chOff x="5042" y="3019"/>
            <a:chExt cx="341" cy="340"/>
          </a:xfrm>
          <a:solidFill>
            <a:schemeClr val="accent2"/>
          </a:solidFill>
        </p:grpSpPr>
        <p:sp>
          <p:nvSpPr>
            <p:cNvPr id="16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Rektangel 7">
            <a:extLst>
              <a:ext uri="{FF2B5EF4-FFF2-40B4-BE49-F238E27FC236}">
                <a16:creationId xmlns:a16="http://schemas.microsoft.com/office/drawing/2014/main" id="{D0E16615-BF0B-464E-BF5F-31863CC7FBFE}"/>
              </a:ext>
            </a:extLst>
          </p:cNvPr>
          <p:cNvSpPr/>
          <p:nvPr/>
        </p:nvSpPr>
        <p:spPr>
          <a:xfrm>
            <a:off x="1039477" y="1784452"/>
            <a:ext cx="7520900" cy="121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</a:rPr>
              <a:t>Ny funksjonalitet innenfor en rekke områder: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Mulig å knytte innkjøpsforespørsel mot en avtale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Enklere å gjøre plankjøp – mer rom for at flere kjøp kan gjøres direkte fra plan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Kan oppgi annen </a:t>
            </a:r>
            <a:r>
              <a:rPr lang="nb-NO" sz="1100" err="1">
                <a:solidFill>
                  <a:schemeClr val="tx1"/>
                </a:solidFill>
              </a:rPr>
              <a:t>varemottaker</a:t>
            </a:r>
            <a:r>
              <a:rPr lang="nb-NO" sz="1100">
                <a:solidFill>
                  <a:schemeClr val="tx1"/>
                </a:solidFill>
              </a:rPr>
              <a:t> (enn den som oppretter forespørsel) på innkjøpsforespørselen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Mulighet for å periodisere </a:t>
            </a:r>
            <a:r>
              <a:rPr lang="nb-NO" sz="1100" err="1">
                <a:solidFill>
                  <a:schemeClr val="tx1"/>
                </a:solidFill>
              </a:rPr>
              <a:t>innkjøpsforepørsel</a:t>
            </a:r>
            <a:endParaRPr lang="nb-NO" sz="11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Mulig å legge inn tekst til hovedbok på innkjøpsforespørsel</a:t>
            </a:r>
            <a:endParaRPr lang="nb-NO" sz="1100">
              <a:solidFill>
                <a:schemeClr val="tx1"/>
              </a:solidFill>
              <a:cs typeface="Arial"/>
            </a:endParaRPr>
          </a:p>
        </p:txBody>
      </p:sp>
      <p:sp>
        <p:nvSpPr>
          <p:cNvPr id="22" name="Rektangel 24">
            <a:extLst>
              <a:ext uri="{FF2B5EF4-FFF2-40B4-BE49-F238E27FC236}">
                <a16:creationId xmlns:a16="http://schemas.microsoft.com/office/drawing/2014/main" id="{A31905A7-4353-4850-A871-198B73584ECC}"/>
              </a:ext>
            </a:extLst>
          </p:cNvPr>
          <p:cNvSpPr/>
          <p:nvPr/>
        </p:nvSpPr>
        <p:spPr>
          <a:xfrm>
            <a:off x="410295" y="1797521"/>
            <a:ext cx="545584" cy="12044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ktangel 7">
            <a:extLst>
              <a:ext uri="{FF2B5EF4-FFF2-40B4-BE49-F238E27FC236}">
                <a16:creationId xmlns:a16="http://schemas.microsoft.com/office/drawing/2014/main" id="{41E9B151-E721-48E4-84D7-6443808EC903}"/>
              </a:ext>
            </a:extLst>
          </p:cNvPr>
          <p:cNvSpPr/>
          <p:nvPr/>
        </p:nvSpPr>
        <p:spPr>
          <a:xfrm>
            <a:off x="1054762" y="3103910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</a:rPr>
              <a:t>Endret matchelogikk fra sum til linjematch </a:t>
            </a:r>
            <a:r>
              <a:rPr lang="nb-NO" sz="1100">
                <a:solidFill>
                  <a:schemeClr val="tx1"/>
                </a:solidFill>
              </a:rPr>
              <a:t>– god og korrekt input helt avgjørende for god output. </a:t>
            </a:r>
          </a:p>
          <a:p>
            <a:r>
              <a:rPr lang="nb-NO" sz="1100" b="1">
                <a:solidFill>
                  <a:schemeClr val="tx2"/>
                </a:solidFill>
              </a:rPr>
              <a:t>Betyr: </a:t>
            </a:r>
            <a:r>
              <a:rPr lang="nb-NO" sz="1100">
                <a:solidFill>
                  <a:schemeClr val="tx1"/>
                </a:solidFill>
              </a:rPr>
              <a:t>Viktigere enn tidligere å ha et bevisst forhold til kontering, eks bruk av </a:t>
            </a:r>
            <a:r>
              <a:rPr lang="nb-NO" sz="1100" err="1">
                <a:solidFill>
                  <a:schemeClr val="tx1"/>
                </a:solidFill>
              </a:rPr>
              <a:t>mva</a:t>
            </a:r>
            <a:r>
              <a:rPr lang="nb-NO" sz="1100">
                <a:solidFill>
                  <a:schemeClr val="tx1"/>
                </a:solidFill>
              </a:rPr>
              <a:t>-koder</a:t>
            </a:r>
            <a:endParaRPr lang="nb-NO" sz="1100">
              <a:solidFill>
                <a:schemeClr val="tx2"/>
              </a:solidFill>
            </a:endParaRPr>
          </a:p>
        </p:txBody>
      </p:sp>
      <p:sp>
        <p:nvSpPr>
          <p:cNvPr id="26" name="Rektangel 24">
            <a:extLst>
              <a:ext uri="{FF2B5EF4-FFF2-40B4-BE49-F238E27FC236}">
                <a16:creationId xmlns:a16="http://schemas.microsoft.com/office/drawing/2014/main" id="{B98A0BFA-C405-4204-A609-2A8D08CFB051}"/>
              </a:ext>
            </a:extLst>
          </p:cNvPr>
          <p:cNvSpPr/>
          <p:nvPr/>
        </p:nvSpPr>
        <p:spPr>
          <a:xfrm>
            <a:off x="410295" y="3108927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ktangel 7">
            <a:extLst>
              <a:ext uri="{FF2B5EF4-FFF2-40B4-BE49-F238E27FC236}">
                <a16:creationId xmlns:a16="http://schemas.microsoft.com/office/drawing/2014/main" id="{32415137-CE73-42D7-8992-21FDCCC29E97}"/>
              </a:ext>
            </a:extLst>
          </p:cNvPr>
          <p:cNvSpPr/>
          <p:nvPr/>
        </p:nvSpPr>
        <p:spPr>
          <a:xfrm>
            <a:off x="1054762" y="3773368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</a:rPr>
              <a:t>Økt funksjonalitet </a:t>
            </a:r>
            <a:r>
              <a:rPr lang="nb-NO" sz="1100">
                <a:solidFill>
                  <a:schemeClr val="tx1"/>
                </a:solidFill>
              </a:rPr>
              <a:t>gjør at det er </a:t>
            </a:r>
            <a:r>
              <a:rPr lang="nb-NO" sz="1100" b="1">
                <a:solidFill>
                  <a:schemeClr val="tx2"/>
                </a:solidFill>
              </a:rPr>
              <a:t>flere felter å forholde seg til </a:t>
            </a:r>
            <a:r>
              <a:rPr lang="nb-NO" sz="1100">
                <a:solidFill>
                  <a:schemeClr val="tx1"/>
                </a:solidFill>
              </a:rPr>
              <a:t>og for noen kanskje mer klikking mellom vinduer enn det man er vant til </a:t>
            </a:r>
          </a:p>
        </p:txBody>
      </p:sp>
      <p:sp>
        <p:nvSpPr>
          <p:cNvPr id="30" name="Rektangel 24">
            <a:extLst>
              <a:ext uri="{FF2B5EF4-FFF2-40B4-BE49-F238E27FC236}">
                <a16:creationId xmlns:a16="http://schemas.microsoft.com/office/drawing/2014/main" id="{5785522D-EE48-4A66-B8D8-2CFF2D9062F0}"/>
              </a:ext>
            </a:extLst>
          </p:cNvPr>
          <p:cNvSpPr/>
          <p:nvPr/>
        </p:nvSpPr>
        <p:spPr>
          <a:xfrm>
            <a:off x="410295" y="3778385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3" name="Group 39">
            <a:extLst>
              <a:ext uri="{FF2B5EF4-FFF2-40B4-BE49-F238E27FC236}">
                <a16:creationId xmlns:a16="http://schemas.microsoft.com/office/drawing/2014/main" id="{E55F31BD-9747-4E51-96F0-6060C3CBD75E}"/>
              </a:ext>
            </a:extLst>
          </p:cNvPr>
          <p:cNvGrpSpPr>
            <a:grpSpLocks/>
          </p:cNvGrpSpPr>
          <p:nvPr/>
        </p:nvGrpSpPr>
        <p:grpSpPr bwMode="auto">
          <a:xfrm>
            <a:off x="484769" y="2201746"/>
            <a:ext cx="396000" cy="396000"/>
            <a:chOff x="3987" y="1509"/>
            <a:chExt cx="340" cy="340"/>
          </a:xfrm>
          <a:solidFill>
            <a:schemeClr val="tx2"/>
          </a:solidFill>
        </p:grpSpPr>
        <p:sp>
          <p:nvSpPr>
            <p:cNvPr id="24" name="Freeform 40">
              <a:extLst>
                <a:ext uri="{FF2B5EF4-FFF2-40B4-BE49-F238E27FC236}">
                  <a16:creationId xmlns:a16="http://schemas.microsoft.com/office/drawing/2014/main" id="{3C0FE68C-E2CD-4F2E-9C76-99EA88845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7" y="15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id="{D25A7180-D676-4C1C-A81E-42F92C939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3" y="1568"/>
              <a:ext cx="215" cy="214"/>
            </a:xfrm>
            <a:custGeom>
              <a:avLst/>
              <a:gdLst>
                <a:gd name="T0" fmla="*/ 168 w 324"/>
                <a:gd name="T1" fmla="*/ 177 h 322"/>
                <a:gd name="T2" fmla="*/ 123 w 324"/>
                <a:gd name="T3" fmla="*/ 143 h 322"/>
                <a:gd name="T4" fmla="*/ 65 w 324"/>
                <a:gd name="T5" fmla="*/ 142 h 322"/>
                <a:gd name="T6" fmla="*/ 18 w 324"/>
                <a:gd name="T7" fmla="*/ 175 h 322"/>
                <a:gd name="T8" fmla="*/ 0 w 324"/>
                <a:gd name="T9" fmla="*/ 229 h 322"/>
                <a:gd name="T10" fmla="*/ 17 w 324"/>
                <a:gd name="T11" fmla="*/ 284 h 322"/>
                <a:gd name="T12" fmla="*/ 63 w 324"/>
                <a:gd name="T13" fmla="*/ 319 h 322"/>
                <a:gd name="T14" fmla="*/ 115 w 324"/>
                <a:gd name="T15" fmla="*/ 320 h 322"/>
                <a:gd name="T16" fmla="*/ 145 w 324"/>
                <a:gd name="T17" fmla="*/ 294 h 322"/>
                <a:gd name="T18" fmla="*/ 172 w 324"/>
                <a:gd name="T19" fmla="*/ 252 h 322"/>
                <a:gd name="T20" fmla="*/ 146 w 324"/>
                <a:gd name="T21" fmla="*/ 249 h 322"/>
                <a:gd name="T22" fmla="*/ 125 w 324"/>
                <a:gd name="T23" fmla="*/ 277 h 322"/>
                <a:gd name="T24" fmla="*/ 92 w 324"/>
                <a:gd name="T25" fmla="*/ 284 h 322"/>
                <a:gd name="T26" fmla="*/ 69 w 324"/>
                <a:gd name="T27" fmla="*/ 293 h 322"/>
                <a:gd name="T28" fmla="*/ 37 w 324"/>
                <a:gd name="T29" fmla="*/ 267 h 322"/>
                <a:gd name="T30" fmla="*/ 26 w 324"/>
                <a:gd name="T31" fmla="*/ 227 h 322"/>
                <a:gd name="T32" fmla="*/ 41 w 324"/>
                <a:gd name="T33" fmla="*/ 189 h 322"/>
                <a:gd name="T34" fmla="*/ 76 w 324"/>
                <a:gd name="T35" fmla="*/ 168 h 322"/>
                <a:gd name="T36" fmla="*/ 115 w 324"/>
                <a:gd name="T37" fmla="*/ 164 h 322"/>
                <a:gd name="T38" fmla="*/ 150 w 324"/>
                <a:gd name="T39" fmla="*/ 190 h 322"/>
                <a:gd name="T40" fmla="*/ 163 w 324"/>
                <a:gd name="T41" fmla="*/ 232 h 322"/>
                <a:gd name="T42" fmla="*/ 61 w 324"/>
                <a:gd name="T43" fmla="*/ 214 h 322"/>
                <a:gd name="T44" fmla="*/ 103 w 324"/>
                <a:gd name="T45" fmla="*/ 265 h 322"/>
                <a:gd name="T46" fmla="*/ 105 w 324"/>
                <a:gd name="T47" fmla="*/ 237 h 322"/>
                <a:gd name="T48" fmla="*/ 80 w 324"/>
                <a:gd name="T49" fmla="*/ 224 h 322"/>
                <a:gd name="T50" fmla="*/ 106 w 324"/>
                <a:gd name="T51" fmla="*/ 226 h 322"/>
                <a:gd name="T52" fmla="*/ 308 w 324"/>
                <a:gd name="T53" fmla="*/ 62 h 322"/>
                <a:gd name="T54" fmla="*/ 276 w 324"/>
                <a:gd name="T55" fmla="*/ 23 h 322"/>
                <a:gd name="T56" fmla="*/ 227 w 324"/>
                <a:gd name="T57" fmla="*/ 10 h 322"/>
                <a:gd name="T58" fmla="*/ 180 w 324"/>
                <a:gd name="T59" fmla="*/ 29 h 322"/>
                <a:gd name="T60" fmla="*/ 152 w 324"/>
                <a:gd name="T61" fmla="*/ 71 h 322"/>
                <a:gd name="T62" fmla="*/ 155 w 324"/>
                <a:gd name="T63" fmla="*/ 122 h 322"/>
                <a:gd name="T64" fmla="*/ 187 w 324"/>
                <a:gd name="T65" fmla="*/ 161 h 322"/>
                <a:gd name="T66" fmla="*/ 236 w 324"/>
                <a:gd name="T67" fmla="*/ 174 h 322"/>
                <a:gd name="T68" fmla="*/ 276 w 324"/>
                <a:gd name="T69" fmla="*/ 156 h 322"/>
                <a:gd name="T70" fmla="*/ 305 w 324"/>
                <a:gd name="T71" fmla="*/ 117 h 322"/>
                <a:gd name="T72" fmla="*/ 298 w 324"/>
                <a:gd name="T73" fmla="*/ 96 h 322"/>
                <a:gd name="T74" fmla="*/ 283 w 324"/>
                <a:gd name="T75" fmla="*/ 134 h 322"/>
                <a:gd name="T76" fmla="*/ 248 w 324"/>
                <a:gd name="T77" fmla="*/ 155 h 322"/>
                <a:gd name="T78" fmla="*/ 209 w 324"/>
                <a:gd name="T79" fmla="*/ 158 h 322"/>
                <a:gd name="T80" fmla="*/ 174 w 324"/>
                <a:gd name="T81" fmla="*/ 132 h 322"/>
                <a:gd name="T82" fmla="*/ 161 w 324"/>
                <a:gd name="T83" fmla="*/ 91 h 322"/>
                <a:gd name="T84" fmla="*/ 175 w 324"/>
                <a:gd name="T85" fmla="*/ 50 h 322"/>
                <a:gd name="T86" fmla="*/ 211 w 324"/>
                <a:gd name="T87" fmla="*/ 26 h 322"/>
                <a:gd name="T88" fmla="*/ 250 w 324"/>
                <a:gd name="T89" fmla="*/ 30 h 322"/>
                <a:gd name="T90" fmla="*/ 284 w 324"/>
                <a:gd name="T91" fmla="*/ 51 h 322"/>
                <a:gd name="T92" fmla="*/ 298 w 324"/>
                <a:gd name="T93" fmla="*/ 90 h 322"/>
                <a:gd name="T94" fmla="*/ 221 w 324"/>
                <a:gd name="T95" fmla="*/ 58 h 322"/>
                <a:gd name="T96" fmla="*/ 231 w 324"/>
                <a:gd name="T97" fmla="*/ 128 h 322"/>
                <a:gd name="T98" fmla="*/ 248 w 324"/>
                <a:gd name="T99" fmla="*/ 61 h 322"/>
                <a:gd name="T100" fmla="*/ 218 w 324"/>
                <a:gd name="T101" fmla="*/ 96 h 322"/>
                <a:gd name="T102" fmla="*/ 238 w 324"/>
                <a:gd name="T103" fmla="*/ 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4" h="322">
                  <a:moveTo>
                    <a:pt x="172" y="212"/>
                  </a:moveTo>
                  <a:cubicBezTo>
                    <a:pt x="171" y="211"/>
                    <a:pt x="168" y="209"/>
                    <a:pt x="167" y="208"/>
                  </a:cubicBezTo>
                  <a:cubicBezTo>
                    <a:pt x="167" y="206"/>
                    <a:pt x="168" y="203"/>
                    <a:pt x="169" y="201"/>
                  </a:cubicBezTo>
                  <a:cubicBezTo>
                    <a:pt x="171" y="194"/>
                    <a:pt x="174" y="185"/>
                    <a:pt x="168" y="177"/>
                  </a:cubicBezTo>
                  <a:cubicBezTo>
                    <a:pt x="163" y="169"/>
                    <a:pt x="153" y="169"/>
                    <a:pt x="146" y="169"/>
                  </a:cubicBezTo>
                  <a:cubicBezTo>
                    <a:pt x="144" y="169"/>
                    <a:pt x="141" y="168"/>
                    <a:pt x="139" y="168"/>
                  </a:cubicBezTo>
                  <a:cubicBezTo>
                    <a:pt x="139" y="167"/>
                    <a:pt x="138" y="164"/>
                    <a:pt x="137" y="162"/>
                  </a:cubicBezTo>
                  <a:cubicBezTo>
                    <a:pt x="135" y="155"/>
                    <a:pt x="132" y="146"/>
                    <a:pt x="123" y="143"/>
                  </a:cubicBezTo>
                  <a:cubicBezTo>
                    <a:pt x="114" y="140"/>
                    <a:pt x="105" y="145"/>
                    <a:pt x="100" y="149"/>
                  </a:cubicBezTo>
                  <a:cubicBezTo>
                    <a:pt x="98" y="150"/>
                    <a:pt x="95" y="152"/>
                    <a:pt x="94" y="153"/>
                  </a:cubicBezTo>
                  <a:cubicBezTo>
                    <a:pt x="92" y="152"/>
                    <a:pt x="90" y="150"/>
                    <a:pt x="88" y="149"/>
                  </a:cubicBezTo>
                  <a:cubicBezTo>
                    <a:pt x="83" y="145"/>
                    <a:pt x="74" y="139"/>
                    <a:pt x="65" y="142"/>
                  </a:cubicBezTo>
                  <a:cubicBezTo>
                    <a:pt x="56" y="145"/>
                    <a:pt x="53" y="154"/>
                    <a:pt x="50" y="161"/>
                  </a:cubicBezTo>
                  <a:cubicBezTo>
                    <a:pt x="49" y="163"/>
                    <a:pt x="48" y="166"/>
                    <a:pt x="48" y="167"/>
                  </a:cubicBezTo>
                  <a:cubicBezTo>
                    <a:pt x="46" y="167"/>
                    <a:pt x="43" y="167"/>
                    <a:pt x="41" y="167"/>
                  </a:cubicBezTo>
                  <a:cubicBezTo>
                    <a:pt x="34" y="167"/>
                    <a:pt x="24" y="168"/>
                    <a:pt x="18" y="175"/>
                  </a:cubicBezTo>
                  <a:cubicBezTo>
                    <a:pt x="13" y="183"/>
                    <a:pt x="15" y="192"/>
                    <a:pt x="17" y="199"/>
                  </a:cubicBezTo>
                  <a:cubicBezTo>
                    <a:pt x="18" y="201"/>
                    <a:pt x="19" y="204"/>
                    <a:pt x="19" y="206"/>
                  </a:cubicBezTo>
                  <a:cubicBezTo>
                    <a:pt x="18" y="207"/>
                    <a:pt x="15" y="209"/>
                    <a:pt x="14" y="210"/>
                  </a:cubicBezTo>
                  <a:cubicBezTo>
                    <a:pt x="8" y="214"/>
                    <a:pt x="0" y="220"/>
                    <a:pt x="0" y="229"/>
                  </a:cubicBezTo>
                  <a:cubicBezTo>
                    <a:pt x="0" y="239"/>
                    <a:pt x="7" y="245"/>
                    <a:pt x="13" y="249"/>
                  </a:cubicBezTo>
                  <a:cubicBezTo>
                    <a:pt x="15" y="251"/>
                    <a:pt x="18" y="253"/>
                    <a:pt x="18" y="253"/>
                  </a:cubicBezTo>
                  <a:cubicBezTo>
                    <a:pt x="18" y="255"/>
                    <a:pt x="17" y="258"/>
                    <a:pt x="16" y="261"/>
                  </a:cubicBezTo>
                  <a:cubicBezTo>
                    <a:pt x="14" y="268"/>
                    <a:pt x="11" y="277"/>
                    <a:pt x="17" y="284"/>
                  </a:cubicBezTo>
                  <a:cubicBezTo>
                    <a:pt x="22" y="292"/>
                    <a:pt x="32" y="292"/>
                    <a:pt x="39" y="293"/>
                  </a:cubicBezTo>
                  <a:cubicBezTo>
                    <a:pt x="41" y="293"/>
                    <a:pt x="44" y="293"/>
                    <a:pt x="46" y="293"/>
                  </a:cubicBezTo>
                  <a:cubicBezTo>
                    <a:pt x="47" y="295"/>
                    <a:pt x="48" y="298"/>
                    <a:pt x="48" y="299"/>
                  </a:cubicBezTo>
                  <a:cubicBezTo>
                    <a:pt x="51" y="306"/>
                    <a:pt x="54" y="315"/>
                    <a:pt x="63" y="319"/>
                  </a:cubicBezTo>
                  <a:cubicBezTo>
                    <a:pt x="72" y="322"/>
                    <a:pt x="80" y="316"/>
                    <a:pt x="86" y="312"/>
                  </a:cubicBezTo>
                  <a:cubicBezTo>
                    <a:pt x="87" y="311"/>
                    <a:pt x="90" y="309"/>
                    <a:pt x="92" y="309"/>
                  </a:cubicBezTo>
                  <a:cubicBezTo>
                    <a:pt x="93" y="309"/>
                    <a:pt x="95" y="311"/>
                    <a:pt x="97" y="312"/>
                  </a:cubicBezTo>
                  <a:cubicBezTo>
                    <a:pt x="102" y="316"/>
                    <a:pt x="108" y="320"/>
                    <a:pt x="115" y="320"/>
                  </a:cubicBezTo>
                  <a:cubicBezTo>
                    <a:pt x="117" y="320"/>
                    <a:pt x="118" y="320"/>
                    <a:pt x="120" y="319"/>
                  </a:cubicBezTo>
                  <a:cubicBezTo>
                    <a:pt x="129" y="316"/>
                    <a:pt x="133" y="307"/>
                    <a:pt x="135" y="300"/>
                  </a:cubicBezTo>
                  <a:cubicBezTo>
                    <a:pt x="136" y="298"/>
                    <a:pt x="137" y="296"/>
                    <a:pt x="138" y="294"/>
                  </a:cubicBezTo>
                  <a:cubicBezTo>
                    <a:pt x="139" y="294"/>
                    <a:pt x="142" y="294"/>
                    <a:pt x="145" y="294"/>
                  </a:cubicBezTo>
                  <a:cubicBezTo>
                    <a:pt x="152" y="294"/>
                    <a:pt x="161" y="294"/>
                    <a:pt x="167" y="286"/>
                  </a:cubicBezTo>
                  <a:cubicBezTo>
                    <a:pt x="173" y="279"/>
                    <a:pt x="170" y="269"/>
                    <a:pt x="168" y="262"/>
                  </a:cubicBezTo>
                  <a:cubicBezTo>
                    <a:pt x="168" y="260"/>
                    <a:pt x="167" y="257"/>
                    <a:pt x="167" y="256"/>
                  </a:cubicBezTo>
                  <a:cubicBezTo>
                    <a:pt x="168" y="255"/>
                    <a:pt x="170" y="253"/>
                    <a:pt x="172" y="252"/>
                  </a:cubicBezTo>
                  <a:cubicBezTo>
                    <a:pt x="177" y="247"/>
                    <a:pt x="185" y="242"/>
                    <a:pt x="185" y="232"/>
                  </a:cubicBezTo>
                  <a:cubicBezTo>
                    <a:pt x="186" y="223"/>
                    <a:pt x="178" y="217"/>
                    <a:pt x="172" y="212"/>
                  </a:cubicBezTo>
                  <a:close/>
                  <a:moveTo>
                    <a:pt x="159" y="235"/>
                  </a:moveTo>
                  <a:cubicBezTo>
                    <a:pt x="154" y="238"/>
                    <a:pt x="148" y="242"/>
                    <a:pt x="146" y="249"/>
                  </a:cubicBezTo>
                  <a:cubicBezTo>
                    <a:pt x="144" y="255"/>
                    <a:pt x="146" y="262"/>
                    <a:pt x="148" y="268"/>
                  </a:cubicBezTo>
                  <a:cubicBezTo>
                    <a:pt x="148" y="269"/>
                    <a:pt x="148" y="271"/>
                    <a:pt x="149" y="272"/>
                  </a:cubicBezTo>
                  <a:cubicBezTo>
                    <a:pt x="147" y="273"/>
                    <a:pt x="145" y="273"/>
                    <a:pt x="144" y="273"/>
                  </a:cubicBezTo>
                  <a:cubicBezTo>
                    <a:pt x="138" y="273"/>
                    <a:pt x="131" y="273"/>
                    <a:pt x="125" y="277"/>
                  </a:cubicBezTo>
                  <a:cubicBezTo>
                    <a:pt x="120" y="281"/>
                    <a:pt x="117" y="287"/>
                    <a:pt x="115" y="293"/>
                  </a:cubicBezTo>
                  <a:cubicBezTo>
                    <a:pt x="115" y="294"/>
                    <a:pt x="114" y="295"/>
                    <a:pt x="113" y="297"/>
                  </a:cubicBezTo>
                  <a:cubicBezTo>
                    <a:pt x="112" y="296"/>
                    <a:pt x="110" y="294"/>
                    <a:pt x="109" y="293"/>
                  </a:cubicBezTo>
                  <a:cubicBezTo>
                    <a:pt x="104" y="290"/>
                    <a:pt x="99" y="284"/>
                    <a:pt x="92" y="284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5" y="284"/>
                    <a:pt x="79" y="289"/>
                    <a:pt x="74" y="293"/>
                  </a:cubicBezTo>
                  <a:cubicBezTo>
                    <a:pt x="73" y="294"/>
                    <a:pt x="71" y="296"/>
                    <a:pt x="70" y="297"/>
                  </a:cubicBezTo>
                  <a:cubicBezTo>
                    <a:pt x="70" y="296"/>
                    <a:pt x="69" y="294"/>
                    <a:pt x="69" y="293"/>
                  </a:cubicBezTo>
                  <a:cubicBezTo>
                    <a:pt x="67" y="287"/>
                    <a:pt x="64" y="280"/>
                    <a:pt x="59" y="276"/>
                  </a:cubicBezTo>
                  <a:cubicBezTo>
                    <a:pt x="53" y="272"/>
                    <a:pt x="46" y="272"/>
                    <a:pt x="40" y="271"/>
                  </a:cubicBezTo>
                  <a:cubicBezTo>
                    <a:pt x="39" y="271"/>
                    <a:pt x="37" y="271"/>
                    <a:pt x="36" y="271"/>
                  </a:cubicBezTo>
                  <a:cubicBezTo>
                    <a:pt x="36" y="270"/>
                    <a:pt x="36" y="268"/>
                    <a:pt x="37" y="267"/>
                  </a:cubicBezTo>
                  <a:cubicBezTo>
                    <a:pt x="39" y="261"/>
                    <a:pt x="41" y="254"/>
                    <a:pt x="39" y="247"/>
                  </a:cubicBezTo>
                  <a:cubicBezTo>
                    <a:pt x="37" y="241"/>
                    <a:pt x="31" y="236"/>
                    <a:pt x="26" y="232"/>
                  </a:cubicBezTo>
                  <a:cubicBezTo>
                    <a:pt x="25" y="232"/>
                    <a:pt x="24" y="231"/>
                    <a:pt x="23" y="230"/>
                  </a:cubicBezTo>
                  <a:cubicBezTo>
                    <a:pt x="24" y="229"/>
                    <a:pt x="25" y="228"/>
                    <a:pt x="26" y="227"/>
                  </a:cubicBezTo>
                  <a:cubicBezTo>
                    <a:pt x="31" y="223"/>
                    <a:pt x="37" y="219"/>
                    <a:pt x="39" y="213"/>
                  </a:cubicBezTo>
                  <a:cubicBezTo>
                    <a:pt x="41" y="206"/>
                    <a:pt x="39" y="199"/>
                    <a:pt x="38" y="193"/>
                  </a:cubicBezTo>
                  <a:cubicBezTo>
                    <a:pt x="37" y="192"/>
                    <a:pt x="37" y="190"/>
                    <a:pt x="37" y="189"/>
                  </a:cubicBezTo>
                  <a:cubicBezTo>
                    <a:pt x="38" y="189"/>
                    <a:pt x="40" y="189"/>
                    <a:pt x="41" y="189"/>
                  </a:cubicBezTo>
                  <a:cubicBezTo>
                    <a:pt x="47" y="189"/>
                    <a:pt x="54" y="189"/>
                    <a:pt x="60" y="185"/>
                  </a:cubicBezTo>
                  <a:cubicBezTo>
                    <a:pt x="66" y="181"/>
                    <a:pt x="68" y="174"/>
                    <a:pt x="70" y="169"/>
                  </a:cubicBezTo>
                  <a:cubicBezTo>
                    <a:pt x="71" y="167"/>
                    <a:pt x="71" y="166"/>
                    <a:pt x="72" y="164"/>
                  </a:cubicBezTo>
                  <a:cubicBezTo>
                    <a:pt x="73" y="165"/>
                    <a:pt x="75" y="167"/>
                    <a:pt x="76" y="168"/>
                  </a:cubicBezTo>
                  <a:cubicBezTo>
                    <a:pt x="81" y="172"/>
                    <a:pt x="87" y="177"/>
                    <a:pt x="93" y="177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101" y="177"/>
                    <a:pt x="106" y="172"/>
                    <a:pt x="111" y="168"/>
                  </a:cubicBezTo>
                  <a:cubicBezTo>
                    <a:pt x="112" y="168"/>
                    <a:pt x="114" y="165"/>
                    <a:pt x="115" y="164"/>
                  </a:cubicBezTo>
                  <a:cubicBezTo>
                    <a:pt x="116" y="166"/>
                    <a:pt x="116" y="168"/>
                    <a:pt x="117" y="169"/>
                  </a:cubicBezTo>
                  <a:cubicBezTo>
                    <a:pt x="119" y="175"/>
                    <a:pt x="121" y="181"/>
                    <a:pt x="127" y="185"/>
                  </a:cubicBezTo>
                  <a:cubicBezTo>
                    <a:pt x="132" y="189"/>
                    <a:pt x="139" y="190"/>
                    <a:pt x="145" y="190"/>
                  </a:cubicBezTo>
                  <a:cubicBezTo>
                    <a:pt x="146" y="190"/>
                    <a:pt x="148" y="190"/>
                    <a:pt x="150" y="190"/>
                  </a:cubicBezTo>
                  <a:cubicBezTo>
                    <a:pt x="149" y="192"/>
                    <a:pt x="149" y="193"/>
                    <a:pt x="149" y="194"/>
                  </a:cubicBezTo>
                  <a:cubicBezTo>
                    <a:pt x="147" y="200"/>
                    <a:pt x="145" y="207"/>
                    <a:pt x="147" y="214"/>
                  </a:cubicBezTo>
                  <a:cubicBezTo>
                    <a:pt x="149" y="221"/>
                    <a:pt x="154" y="225"/>
                    <a:pt x="159" y="229"/>
                  </a:cubicBezTo>
                  <a:cubicBezTo>
                    <a:pt x="160" y="230"/>
                    <a:pt x="162" y="231"/>
                    <a:pt x="163" y="232"/>
                  </a:cubicBezTo>
                  <a:cubicBezTo>
                    <a:pt x="161" y="233"/>
                    <a:pt x="160" y="234"/>
                    <a:pt x="159" y="235"/>
                  </a:cubicBezTo>
                  <a:close/>
                  <a:moveTo>
                    <a:pt x="109" y="199"/>
                  </a:moveTo>
                  <a:cubicBezTo>
                    <a:pt x="101" y="195"/>
                    <a:pt x="91" y="194"/>
                    <a:pt x="82" y="197"/>
                  </a:cubicBezTo>
                  <a:cubicBezTo>
                    <a:pt x="73" y="200"/>
                    <a:pt x="66" y="206"/>
                    <a:pt x="61" y="214"/>
                  </a:cubicBezTo>
                  <a:cubicBezTo>
                    <a:pt x="57" y="223"/>
                    <a:pt x="56" y="232"/>
                    <a:pt x="59" y="241"/>
                  </a:cubicBezTo>
                  <a:cubicBezTo>
                    <a:pt x="62" y="250"/>
                    <a:pt x="68" y="258"/>
                    <a:pt x="76" y="262"/>
                  </a:cubicBezTo>
                  <a:cubicBezTo>
                    <a:pt x="81" y="265"/>
                    <a:pt x="87" y="266"/>
                    <a:pt x="93" y="266"/>
                  </a:cubicBezTo>
                  <a:cubicBezTo>
                    <a:pt x="96" y="266"/>
                    <a:pt x="100" y="266"/>
                    <a:pt x="103" y="265"/>
                  </a:cubicBezTo>
                  <a:cubicBezTo>
                    <a:pt x="112" y="262"/>
                    <a:pt x="120" y="256"/>
                    <a:pt x="124" y="247"/>
                  </a:cubicBezTo>
                  <a:cubicBezTo>
                    <a:pt x="129" y="239"/>
                    <a:pt x="129" y="229"/>
                    <a:pt x="127" y="220"/>
                  </a:cubicBezTo>
                  <a:cubicBezTo>
                    <a:pt x="124" y="211"/>
                    <a:pt x="118" y="204"/>
                    <a:pt x="109" y="199"/>
                  </a:cubicBezTo>
                  <a:close/>
                  <a:moveTo>
                    <a:pt x="105" y="237"/>
                  </a:moveTo>
                  <a:cubicBezTo>
                    <a:pt x="103" y="241"/>
                    <a:pt x="101" y="243"/>
                    <a:pt x="97" y="244"/>
                  </a:cubicBezTo>
                  <a:cubicBezTo>
                    <a:pt x="93" y="245"/>
                    <a:pt x="89" y="245"/>
                    <a:pt x="86" y="243"/>
                  </a:cubicBezTo>
                  <a:cubicBezTo>
                    <a:pt x="83" y="241"/>
                    <a:pt x="80" y="239"/>
                    <a:pt x="79" y="235"/>
                  </a:cubicBezTo>
                  <a:cubicBezTo>
                    <a:pt x="78" y="231"/>
                    <a:pt x="78" y="227"/>
                    <a:pt x="80" y="224"/>
                  </a:cubicBezTo>
                  <a:cubicBezTo>
                    <a:pt x="82" y="221"/>
                    <a:pt x="85" y="218"/>
                    <a:pt x="88" y="217"/>
                  </a:cubicBezTo>
                  <a:cubicBezTo>
                    <a:pt x="90" y="217"/>
                    <a:pt x="91" y="216"/>
                    <a:pt x="93" y="216"/>
                  </a:cubicBezTo>
                  <a:cubicBezTo>
                    <a:pt x="95" y="216"/>
                    <a:pt x="97" y="217"/>
                    <a:pt x="99" y="218"/>
                  </a:cubicBezTo>
                  <a:cubicBezTo>
                    <a:pt x="103" y="220"/>
                    <a:pt x="105" y="223"/>
                    <a:pt x="106" y="226"/>
                  </a:cubicBezTo>
                  <a:cubicBezTo>
                    <a:pt x="107" y="230"/>
                    <a:pt x="107" y="234"/>
                    <a:pt x="105" y="237"/>
                  </a:cubicBezTo>
                  <a:close/>
                  <a:moveTo>
                    <a:pt x="311" y="74"/>
                  </a:moveTo>
                  <a:cubicBezTo>
                    <a:pt x="309" y="72"/>
                    <a:pt x="307" y="70"/>
                    <a:pt x="306" y="69"/>
                  </a:cubicBezTo>
                  <a:cubicBezTo>
                    <a:pt x="306" y="67"/>
                    <a:pt x="307" y="64"/>
                    <a:pt x="308" y="62"/>
                  </a:cubicBezTo>
                  <a:cubicBezTo>
                    <a:pt x="310" y="55"/>
                    <a:pt x="313" y="46"/>
                    <a:pt x="307" y="38"/>
                  </a:cubicBezTo>
                  <a:cubicBezTo>
                    <a:pt x="302" y="31"/>
                    <a:pt x="292" y="30"/>
                    <a:pt x="285" y="30"/>
                  </a:cubicBezTo>
                  <a:cubicBezTo>
                    <a:pt x="283" y="30"/>
                    <a:pt x="280" y="30"/>
                    <a:pt x="278" y="29"/>
                  </a:cubicBezTo>
                  <a:cubicBezTo>
                    <a:pt x="277" y="28"/>
                    <a:pt x="276" y="25"/>
                    <a:pt x="276" y="23"/>
                  </a:cubicBezTo>
                  <a:cubicBezTo>
                    <a:pt x="273" y="16"/>
                    <a:pt x="270" y="7"/>
                    <a:pt x="261" y="4"/>
                  </a:cubicBezTo>
                  <a:cubicBezTo>
                    <a:pt x="252" y="1"/>
                    <a:pt x="244" y="6"/>
                    <a:pt x="238" y="10"/>
                  </a:cubicBezTo>
                  <a:cubicBezTo>
                    <a:pt x="237" y="12"/>
                    <a:pt x="234" y="13"/>
                    <a:pt x="232" y="14"/>
                  </a:cubicBezTo>
                  <a:cubicBezTo>
                    <a:pt x="231" y="13"/>
                    <a:pt x="229" y="12"/>
                    <a:pt x="227" y="10"/>
                  </a:cubicBezTo>
                  <a:cubicBezTo>
                    <a:pt x="221" y="6"/>
                    <a:pt x="213" y="0"/>
                    <a:pt x="204" y="3"/>
                  </a:cubicBezTo>
                  <a:cubicBezTo>
                    <a:pt x="195" y="6"/>
                    <a:pt x="191" y="16"/>
                    <a:pt x="189" y="22"/>
                  </a:cubicBezTo>
                  <a:cubicBezTo>
                    <a:pt x="188" y="24"/>
                    <a:pt x="187" y="27"/>
                    <a:pt x="186" y="28"/>
                  </a:cubicBezTo>
                  <a:cubicBezTo>
                    <a:pt x="185" y="29"/>
                    <a:pt x="182" y="29"/>
                    <a:pt x="180" y="29"/>
                  </a:cubicBezTo>
                  <a:cubicBezTo>
                    <a:pt x="172" y="29"/>
                    <a:pt x="163" y="29"/>
                    <a:pt x="157" y="36"/>
                  </a:cubicBezTo>
                  <a:cubicBezTo>
                    <a:pt x="151" y="44"/>
                    <a:pt x="154" y="53"/>
                    <a:pt x="156" y="60"/>
                  </a:cubicBezTo>
                  <a:cubicBezTo>
                    <a:pt x="156" y="62"/>
                    <a:pt x="157" y="65"/>
                    <a:pt x="157" y="67"/>
                  </a:cubicBezTo>
                  <a:cubicBezTo>
                    <a:pt x="156" y="68"/>
                    <a:pt x="154" y="70"/>
                    <a:pt x="152" y="71"/>
                  </a:cubicBezTo>
                  <a:cubicBezTo>
                    <a:pt x="147" y="75"/>
                    <a:pt x="139" y="81"/>
                    <a:pt x="139" y="91"/>
                  </a:cubicBezTo>
                  <a:cubicBezTo>
                    <a:pt x="138" y="100"/>
                    <a:pt x="146" y="106"/>
                    <a:pt x="152" y="110"/>
                  </a:cubicBezTo>
                  <a:cubicBezTo>
                    <a:pt x="153" y="112"/>
                    <a:pt x="156" y="114"/>
                    <a:pt x="157" y="115"/>
                  </a:cubicBezTo>
                  <a:cubicBezTo>
                    <a:pt x="157" y="116"/>
                    <a:pt x="156" y="120"/>
                    <a:pt x="155" y="122"/>
                  </a:cubicBezTo>
                  <a:cubicBezTo>
                    <a:pt x="153" y="129"/>
                    <a:pt x="150" y="138"/>
                    <a:pt x="156" y="146"/>
                  </a:cubicBezTo>
                  <a:cubicBezTo>
                    <a:pt x="161" y="153"/>
                    <a:pt x="171" y="154"/>
                    <a:pt x="178" y="154"/>
                  </a:cubicBezTo>
                  <a:cubicBezTo>
                    <a:pt x="180" y="154"/>
                    <a:pt x="183" y="154"/>
                    <a:pt x="185" y="155"/>
                  </a:cubicBezTo>
                  <a:cubicBezTo>
                    <a:pt x="185" y="156"/>
                    <a:pt x="186" y="159"/>
                    <a:pt x="187" y="161"/>
                  </a:cubicBezTo>
                  <a:cubicBezTo>
                    <a:pt x="189" y="168"/>
                    <a:pt x="192" y="177"/>
                    <a:pt x="201" y="180"/>
                  </a:cubicBezTo>
                  <a:cubicBezTo>
                    <a:pt x="210" y="183"/>
                    <a:pt x="218" y="178"/>
                    <a:pt x="224" y="174"/>
                  </a:cubicBezTo>
                  <a:cubicBezTo>
                    <a:pt x="226" y="172"/>
                    <a:pt x="229" y="171"/>
                    <a:pt x="230" y="170"/>
                  </a:cubicBezTo>
                  <a:cubicBezTo>
                    <a:pt x="232" y="171"/>
                    <a:pt x="234" y="172"/>
                    <a:pt x="236" y="174"/>
                  </a:cubicBezTo>
                  <a:cubicBezTo>
                    <a:pt x="240" y="177"/>
                    <a:pt x="247" y="181"/>
                    <a:pt x="254" y="181"/>
                  </a:cubicBezTo>
                  <a:cubicBezTo>
                    <a:pt x="255" y="181"/>
                    <a:pt x="257" y="181"/>
                    <a:pt x="259" y="181"/>
                  </a:cubicBezTo>
                  <a:cubicBezTo>
                    <a:pt x="268" y="178"/>
                    <a:pt x="271" y="168"/>
                    <a:pt x="274" y="162"/>
                  </a:cubicBezTo>
                  <a:cubicBezTo>
                    <a:pt x="275" y="160"/>
                    <a:pt x="276" y="157"/>
                    <a:pt x="276" y="156"/>
                  </a:cubicBezTo>
                  <a:cubicBezTo>
                    <a:pt x="278" y="155"/>
                    <a:pt x="281" y="155"/>
                    <a:pt x="283" y="155"/>
                  </a:cubicBezTo>
                  <a:cubicBezTo>
                    <a:pt x="290" y="155"/>
                    <a:pt x="300" y="155"/>
                    <a:pt x="306" y="148"/>
                  </a:cubicBezTo>
                  <a:cubicBezTo>
                    <a:pt x="311" y="140"/>
                    <a:pt x="309" y="131"/>
                    <a:pt x="307" y="124"/>
                  </a:cubicBezTo>
                  <a:cubicBezTo>
                    <a:pt x="306" y="122"/>
                    <a:pt x="305" y="119"/>
                    <a:pt x="305" y="117"/>
                  </a:cubicBezTo>
                  <a:cubicBezTo>
                    <a:pt x="306" y="116"/>
                    <a:pt x="309" y="114"/>
                    <a:pt x="310" y="113"/>
                  </a:cubicBezTo>
                  <a:cubicBezTo>
                    <a:pt x="316" y="109"/>
                    <a:pt x="324" y="103"/>
                    <a:pt x="324" y="93"/>
                  </a:cubicBezTo>
                  <a:cubicBezTo>
                    <a:pt x="324" y="84"/>
                    <a:pt x="317" y="78"/>
                    <a:pt x="311" y="74"/>
                  </a:cubicBezTo>
                  <a:close/>
                  <a:moveTo>
                    <a:pt x="298" y="96"/>
                  </a:moveTo>
                  <a:cubicBezTo>
                    <a:pt x="293" y="100"/>
                    <a:pt x="287" y="104"/>
                    <a:pt x="285" y="110"/>
                  </a:cubicBezTo>
                  <a:cubicBezTo>
                    <a:pt x="283" y="117"/>
                    <a:pt x="285" y="123"/>
                    <a:pt x="286" y="129"/>
                  </a:cubicBezTo>
                  <a:cubicBezTo>
                    <a:pt x="287" y="131"/>
                    <a:pt x="287" y="132"/>
                    <a:pt x="287" y="134"/>
                  </a:cubicBezTo>
                  <a:cubicBezTo>
                    <a:pt x="286" y="134"/>
                    <a:pt x="284" y="134"/>
                    <a:pt x="283" y="134"/>
                  </a:cubicBezTo>
                  <a:cubicBezTo>
                    <a:pt x="277" y="134"/>
                    <a:pt x="270" y="134"/>
                    <a:pt x="264" y="138"/>
                  </a:cubicBezTo>
                  <a:cubicBezTo>
                    <a:pt x="258" y="142"/>
                    <a:pt x="256" y="148"/>
                    <a:pt x="254" y="154"/>
                  </a:cubicBezTo>
                  <a:cubicBezTo>
                    <a:pt x="253" y="155"/>
                    <a:pt x="253" y="157"/>
                    <a:pt x="252" y="158"/>
                  </a:cubicBezTo>
                  <a:cubicBezTo>
                    <a:pt x="251" y="157"/>
                    <a:pt x="249" y="155"/>
                    <a:pt x="248" y="155"/>
                  </a:cubicBezTo>
                  <a:cubicBezTo>
                    <a:pt x="243" y="151"/>
                    <a:pt x="237" y="145"/>
                    <a:pt x="231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23" y="145"/>
                    <a:pt x="218" y="151"/>
                    <a:pt x="213" y="154"/>
                  </a:cubicBezTo>
                  <a:cubicBezTo>
                    <a:pt x="212" y="155"/>
                    <a:pt x="210" y="157"/>
                    <a:pt x="209" y="158"/>
                  </a:cubicBezTo>
                  <a:cubicBezTo>
                    <a:pt x="208" y="157"/>
                    <a:pt x="208" y="155"/>
                    <a:pt x="207" y="154"/>
                  </a:cubicBezTo>
                  <a:cubicBezTo>
                    <a:pt x="205" y="148"/>
                    <a:pt x="203" y="141"/>
                    <a:pt x="197" y="137"/>
                  </a:cubicBezTo>
                  <a:cubicBezTo>
                    <a:pt x="192" y="133"/>
                    <a:pt x="185" y="133"/>
                    <a:pt x="179" y="133"/>
                  </a:cubicBezTo>
                  <a:cubicBezTo>
                    <a:pt x="178" y="133"/>
                    <a:pt x="176" y="133"/>
                    <a:pt x="174" y="132"/>
                  </a:cubicBezTo>
                  <a:cubicBezTo>
                    <a:pt x="175" y="131"/>
                    <a:pt x="175" y="129"/>
                    <a:pt x="175" y="128"/>
                  </a:cubicBezTo>
                  <a:cubicBezTo>
                    <a:pt x="177" y="122"/>
                    <a:pt x="179" y="115"/>
                    <a:pt x="177" y="109"/>
                  </a:cubicBezTo>
                  <a:cubicBezTo>
                    <a:pt x="175" y="102"/>
                    <a:pt x="170" y="98"/>
                    <a:pt x="165" y="94"/>
                  </a:cubicBezTo>
                  <a:cubicBezTo>
                    <a:pt x="164" y="93"/>
                    <a:pt x="162" y="92"/>
                    <a:pt x="161" y="91"/>
                  </a:cubicBezTo>
                  <a:cubicBezTo>
                    <a:pt x="163" y="90"/>
                    <a:pt x="164" y="89"/>
                    <a:pt x="165" y="88"/>
                  </a:cubicBezTo>
                  <a:cubicBezTo>
                    <a:pt x="170" y="84"/>
                    <a:pt x="176" y="80"/>
                    <a:pt x="178" y="74"/>
                  </a:cubicBezTo>
                  <a:cubicBezTo>
                    <a:pt x="180" y="67"/>
                    <a:pt x="178" y="61"/>
                    <a:pt x="176" y="55"/>
                  </a:cubicBezTo>
                  <a:cubicBezTo>
                    <a:pt x="176" y="53"/>
                    <a:pt x="176" y="52"/>
                    <a:pt x="175" y="50"/>
                  </a:cubicBezTo>
                  <a:cubicBezTo>
                    <a:pt x="177" y="50"/>
                    <a:pt x="179" y="50"/>
                    <a:pt x="180" y="50"/>
                  </a:cubicBezTo>
                  <a:cubicBezTo>
                    <a:pt x="186" y="50"/>
                    <a:pt x="193" y="50"/>
                    <a:pt x="199" y="46"/>
                  </a:cubicBezTo>
                  <a:cubicBezTo>
                    <a:pt x="204" y="42"/>
                    <a:pt x="207" y="36"/>
                    <a:pt x="209" y="30"/>
                  </a:cubicBezTo>
                  <a:cubicBezTo>
                    <a:pt x="209" y="29"/>
                    <a:pt x="210" y="27"/>
                    <a:pt x="211" y="26"/>
                  </a:cubicBezTo>
                  <a:cubicBezTo>
                    <a:pt x="212" y="27"/>
                    <a:pt x="214" y="29"/>
                    <a:pt x="215" y="29"/>
                  </a:cubicBezTo>
                  <a:cubicBezTo>
                    <a:pt x="220" y="33"/>
                    <a:pt x="225" y="39"/>
                    <a:pt x="232" y="39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9" y="39"/>
                    <a:pt x="245" y="33"/>
                    <a:pt x="250" y="30"/>
                  </a:cubicBezTo>
                  <a:cubicBezTo>
                    <a:pt x="251" y="29"/>
                    <a:pt x="253" y="27"/>
                    <a:pt x="254" y="26"/>
                  </a:cubicBezTo>
                  <a:cubicBezTo>
                    <a:pt x="254" y="27"/>
                    <a:pt x="255" y="29"/>
                    <a:pt x="255" y="30"/>
                  </a:cubicBezTo>
                  <a:cubicBezTo>
                    <a:pt x="257" y="36"/>
                    <a:pt x="260" y="43"/>
                    <a:pt x="265" y="47"/>
                  </a:cubicBezTo>
                  <a:cubicBezTo>
                    <a:pt x="271" y="51"/>
                    <a:pt x="278" y="51"/>
                    <a:pt x="284" y="51"/>
                  </a:cubicBezTo>
                  <a:cubicBezTo>
                    <a:pt x="285" y="51"/>
                    <a:pt x="287" y="51"/>
                    <a:pt x="288" y="52"/>
                  </a:cubicBezTo>
                  <a:cubicBezTo>
                    <a:pt x="288" y="53"/>
                    <a:pt x="288" y="55"/>
                    <a:pt x="287" y="56"/>
                  </a:cubicBezTo>
                  <a:cubicBezTo>
                    <a:pt x="285" y="62"/>
                    <a:pt x="283" y="69"/>
                    <a:pt x="285" y="75"/>
                  </a:cubicBezTo>
                  <a:cubicBezTo>
                    <a:pt x="287" y="82"/>
                    <a:pt x="293" y="86"/>
                    <a:pt x="298" y="90"/>
                  </a:cubicBezTo>
                  <a:cubicBezTo>
                    <a:pt x="299" y="91"/>
                    <a:pt x="300" y="92"/>
                    <a:pt x="301" y="93"/>
                  </a:cubicBezTo>
                  <a:cubicBezTo>
                    <a:pt x="300" y="94"/>
                    <a:pt x="299" y="95"/>
                    <a:pt x="298" y="96"/>
                  </a:cubicBezTo>
                  <a:close/>
                  <a:moveTo>
                    <a:pt x="248" y="61"/>
                  </a:moveTo>
                  <a:cubicBezTo>
                    <a:pt x="239" y="56"/>
                    <a:pt x="230" y="55"/>
                    <a:pt x="221" y="58"/>
                  </a:cubicBezTo>
                  <a:cubicBezTo>
                    <a:pt x="212" y="61"/>
                    <a:pt x="204" y="67"/>
                    <a:pt x="200" y="75"/>
                  </a:cubicBezTo>
                  <a:cubicBezTo>
                    <a:pt x="195" y="84"/>
                    <a:pt x="195" y="93"/>
                    <a:pt x="197" y="103"/>
                  </a:cubicBezTo>
                  <a:cubicBezTo>
                    <a:pt x="200" y="112"/>
                    <a:pt x="206" y="119"/>
                    <a:pt x="215" y="123"/>
                  </a:cubicBezTo>
                  <a:cubicBezTo>
                    <a:pt x="220" y="126"/>
                    <a:pt x="226" y="128"/>
                    <a:pt x="231" y="128"/>
                  </a:cubicBezTo>
                  <a:cubicBezTo>
                    <a:pt x="235" y="128"/>
                    <a:pt x="238" y="127"/>
                    <a:pt x="242" y="126"/>
                  </a:cubicBezTo>
                  <a:cubicBezTo>
                    <a:pt x="251" y="123"/>
                    <a:pt x="258" y="117"/>
                    <a:pt x="263" y="109"/>
                  </a:cubicBezTo>
                  <a:cubicBezTo>
                    <a:pt x="267" y="100"/>
                    <a:pt x="268" y="91"/>
                    <a:pt x="265" y="81"/>
                  </a:cubicBezTo>
                  <a:cubicBezTo>
                    <a:pt x="262" y="72"/>
                    <a:pt x="256" y="65"/>
                    <a:pt x="248" y="61"/>
                  </a:cubicBezTo>
                  <a:close/>
                  <a:moveTo>
                    <a:pt x="244" y="99"/>
                  </a:moveTo>
                  <a:cubicBezTo>
                    <a:pt x="242" y="102"/>
                    <a:pt x="239" y="104"/>
                    <a:pt x="236" y="106"/>
                  </a:cubicBezTo>
                  <a:cubicBezTo>
                    <a:pt x="232" y="107"/>
                    <a:pt x="228" y="106"/>
                    <a:pt x="225" y="105"/>
                  </a:cubicBezTo>
                  <a:cubicBezTo>
                    <a:pt x="221" y="103"/>
                    <a:pt x="219" y="100"/>
                    <a:pt x="218" y="96"/>
                  </a:cubicBezTo>
                  <a:cubicBezTo>
                    <a:pt x="217" y="93"/>
                    <a:pt x="217" y="89"/>
                    <a:pt x="219" y="85"/>
                  </a:cubicBezTo>
                  <a:cubicBezTo>
                    <a:pt x="221" y="82"/>
                    <a:pt x="223" y="80"/>
                    <a:pt x="227" y="78"/>
                  </a:cubicBezTo>
                  <a:cubicBezTo>
                    <a:pt x="229" y="78"/>
                    <a:pt x="230" y="78"/>
                    <a:pt x="231" y="78"/>
                  </a:cubicBezTo>
                  <a:cubicBezTo>
                    <a:pt x="234" y="78"/>
                    <a:pt x="236" y="78"/>
                    <a:pt x="238" y="79"/>
                  </a:cubicBezTo>
                  <a:cubicBezTo>
                    <a:pt x="241" y="81"/>
                    <a:pt x="244" y="84"/>
                    <a:pt x="245" y="88"/>
                  </a:cubicBezTo>
                  <a:cubicBezTo>
                    <a:pt x="246" y="91"/>
                    <a:pt x="246" y="95"/>
                    <a:pt x="244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28" name="Group 432">
            <a:extLst>
              <a:ext uri="{FF2B5EF4-FFF2-40B4-BE49-F238E27FC236}">
                <a16:creationId xmlns:a16="http://schemas.microsoft.com/office/drawing/2014/main" id="{8CECF132-9619-436E-9A85-FF723DC7BC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3208196"/>
            <a:ext cx="394838" cy="396000"/>
            <a:chOff x="3505" y="1546"/>
            <a:chExt cx="340" cy="341"/>
          </a:xfrm>
          <a:solidFill>
            <a:srgbClr val="014694"/>
          </a:solidFill>
        </p:grpSpPr>
        <p:sp>
          <p:nvSpPr>
            <p:cNvPr id="31" name="Freeform 433">
              <a:extLst>
                <a:ext uri="{FF2B5EF4-FFF2-40B4-BE49-F238E27FC236}">
                  <a16:creationId xmlns:a16="http://schemas.microsoft.com/office/drawing/2014/main" id="{B1E1F99E-B855-4774-808F-22CD28DDD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9" y="1610"/>
              <a:ext cx="212" cy="213"/>
            </a:xfrm>
            <a:custGeom>
              <a:avLst/>
              <a:gdLst>
                <a:gd name="T0" fmla="*/ 309 w 320"/>
                <a:gd name="T1" fmla="*/ 149 h 320"/>
                <a:gd name="T2" fmla="*/ 287 w 320"/>
                <a:gd name="T3" fmla="*/ 149 h 320"/>
                <a:gd name="T4" fmla="*/ 170 w 320"/>
                <a:gd name="T5" fmla="*/ 32 h 320"/>
                <a:gd name="T6" fmla="*/ 170 w 320"/>
                <a:gd name="T7" fmla="*/ 10 h 320"/>
                <a:gd name="T8" fmla="*/ 160 w 320"/>
                <a:gd name="T9" fmla="*/ 0 h 320"/>
                <a:gd name="T10" fmla="*/ 149 w 320"/>
                <a:gd name="T11" fmla="*/ 10 h 320"/>
                <a:gd name="T12" fmla="*/ 149 w 320"/>
                <a:gd name="T13" fmla="*/ 32 h 320"/>
                <a:gd name="T14" fmla="*/ 32 w 320"/>
                <a:gd name="T15" fmla="*/ 149 h 320"/>
                <a:gd name="T16" fmla="*/ 10 w 320"/>
                <a:gd name="T17" fmla="*/ 149 h 320"/>
                <a:gd name="T18" fmla="*/ 0 w 320"/>
                <a:gd name="T19" fmla="*/ 160 h 320"/>
                <a:gd name="T20" fmla="*/ 10 w 320"/>
                <a:gd name="T21" fmla="*/ 170 h 320"/>
                <a:gd name="T22" fmla="*/ 32 w 320"/>
                <a:gd name="T23" fmla="*/ 170 h 320"/>
                <a:gd name="T24" fmla="*/ 149 w 320"/>
                <a:gd name="T25" fmla="*/ 287 h 320"/>
                <a:gd name="T26" fmla="*/ 149 w 320"/>
                <a:gd name="T27" fmla="*/ 309 h 320"/>
                <a:gd name="T28" fmla="*/ 160 w 320"/>
                <a:gd name="T29" fmla="*/ 320 h 320"/>
                <a:gd name="T30" fmla="*/ 170 w 320"/>
                <a:gd name="T31" fmla="*/ 309 h 320"/>
                <a:gd name="T32" fmla="*/ 170 w 320"/>
                <a:gd name="T33" fmla="*/ 287 h 320"/>
                <a:gd name="T34" fmla="*/ 287 w 320"/>
                <a:gd name="T35" fmla="*/ 170 h 320"/>
                <a:gd name="T36" fmla="*/ 309 w 320"/>
                <a:gd name="T37" fmla="*/ 170 h 320"/>
                <a:gd name="T38" fmla="*/ 320 w 320"/>
                <a:gd name="T39" fmla="*/ 160 h 320"/>
                <a:gd name="T40" fmla="*/ 309 w 320"/>
                <a:gd name="T41" fmla="*/ 149 h 320"/>
                <a:gd name="T42" fmla="*/ 266 w 320"/>
                <a:gd name="T43" fmla="*/ 149 h 320"/>
                <a:gd name="T44" fmla="*/ 233 w 320"/>
                <a:gd name="T45" fmla="*/ 149 h 320"/>
                <a:gd name="T46" fmla="*/ 170 w 320"/>
                <a:gd name="T47" fmla="*/ 86 h 320"/>
                <a:gd name="T48" fmla="*/ 170 w 320"/>
                <a:gd name="T49" fmla="*/ 54 h 320"/>
                <a:gd name="T50" fmla="*/ 266 w 320"/>
                <a:gd name="T51" fmla="*/ 149 h 320"/>
                <a:gd name="T52" fmla="*/ 149 w 320"/>
                <a:gd name="T53" fmla="*/ 149 h 320"/>
                <a:gd name="T54" fmla="*/ 107 w 320"/>
                <a:gd name="T55" fmla="*/ 149 h 320"/>
                <a:gd name="T56" fmla="*/ 149 w 320"/>
                <a:gd name="T57" fmla="*/ 107 h 320"/>
                <a:gd name="T58" fmla="*/ 149 w 320"/>
                <a:gd name="T59" fmla="*/ 149 h 320"/>
                <a:gd name="T60" fmla="*/ 149 w 320"/>
                <a:gd name="T61" fmla="*/ 170 h 320"/>
                <a:gd name="T62" fmla="*/ 149 w 320"/>
                <a:gd name="T63" fmla="*/ 212 h 320"/>
                <a:gd name="T64" fmla="*/ 107 w 320"/>
                <a:gd name="T65" fmla="*/ 170 h 320"/>
                <a:gd name="T66" fmla="*/ 149 w 320"/>
                <a:gd name="T67" fmla="*/ 170 h 320"/>
                <a:gd name="T68" fmla="*/ 170 w 320"/>
                <a:gd name="T69" fmla="*/ 170 h 320"/>
                <a:gd name="T70" fmla="*/ 212 w 320"/>
                <a:gd name="T71" fmla="*/ 170 h 320"/>
                <a:gd name="T72" fmla="*/ 170 w 320"/>
                <a:gd name="T73" fmla="*/ 212 h 320"/>
                <a:gd name="T74" fmla="*/ 170 w 320"/>
                <a:gd name="T75" fmla="*/ 170 h 320"/>
                <a:gd name="T76" fmla="*/ 170 w 320"/>
                <a:gd name="T77" fmla="*/ 149 h 320"/>
                <a:gd name="T78" fmla="*/ 170 w 320"/>
                <a:gd name="T79" fmla="*/ 107 h 320"/>
                <a:gd name="T80" fmla="*/ 212 w 320"/>
                <a:gd name="T81" fmla="*/ 149 h 320"/>
                <a:gd name="T82" fmla="*/ 170 w 320"/>
                <a:gd name="T83" fmla="*/ 149 h 320"/>
                <a:gd name="T84" fmla="*/ 149 w 320"/>
                <a:gd name="T85" fmla="*/ 54 h 320"/>
                <a:gd name="T86" fmla="*/ 149 w 320"/>
                <a:gd name="T87" fmla="*/ 86 h 320"/>
                <a:gd name="T88" fmla="*/ 86 w 320"/>
                <a:gd name="T89" fmla="*/ 149 h 320"/>
                <a:gd name="T90" fmla="*/ 54 w 320"/>
                <a:gd name="T91" fmla="*/ 149 h 320"/>
                <a:gd name="T92" fmla="*/ 149 w 320"/>
                <a:gd name="T93" fmla="*/ 54 h 320"/>
                <a:gd name="T94" fmla="*/ 54 w 320"/>
                <a:gd name="T95" fmla="*/ 170 h 320"/>
                <a:gd name="T96" fmla="*/ 86 w 320"/>
                <a:gd name="T97" fmla="*/ 170 h 320"/>
                <a:gd name="T98" fmla="*/ 149 w 320"/>
                <a:gd name="T99" fmla="*/ 233 h 320"/>
                <a:gd name="T100" fmla="*/ 149 w 320"/>
                <a:gd name="T101" fmla="*/ 266 h 320"/>
                <a:gd name="T102" fmla="*/ 54 w 320"/>
                <a:gd name="T103" fmla="*/ 170 h 320"/>
                <a:gd name="T104" fmla="*/ 170 w 320"/>
                <a:gd name="T105" fmla="*/ 266 h 320"/>
                <a:gd name="T106" fmla="*/ 170 w 320"/>
                <a:gd name="T107" fmla="*/ 233 h 320"/>
                <a:gd name="T108" fmla="*/ 233 w 320"/>
                <a:gd name="T109" fmla="*/ 170 h 320"/>
                <a:gd name="T110" fmla="*/ 266 w 320"/>
                <a:gd name="T111" fmla="*/ 170 h 320"/>
                <a:gd name="T112" fmla="*/ 170 w 320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320">
                  <a:moveTo>
                    <a:pt x="309" y="149"/>
                  </a:moveTo>
                  <a:cubicBezTo>
                    <a:pt x="287" y="149"/>
                    <a:pt x="287" y="149"/>
                    <a:pt x="287" y="149"/>
                  </a:cubicBezTo>
                  <a:cubicBezTo>
                    <a:pt x="282" y="87"/>
                    <a:pt x="232" y="37"/>
                    <a:pt x="170" y="3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87" y="37"/>
                    <a:pt x="37" y="87"/>
                    <a:pt x="3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7" y="232"/>
                    <a:pt x="87" y="282"/>
                    <a:pt x="149" y="28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32" y="282"/>
                    <a:pt x="282" y="232"/>
                    <a:pt x="287" y="170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lose/>
                  <a:moveTo>
                    <a:pt x="266" y="149"/>
                  </a:moveTo>
                  <a:cubicBezTo>
                    <a:pt x="233" y="149"/>
                    <a:pt x="233" y="149"/>
                    <a:pt x="233" y="149"/>
                  </a:cubicBezTo>
                  <a:cubicBezTo>
                    <a:pt x="229" y="116"/>
                    <a:pt x="203" y="91"/>
                    <a:pt x="170" y="86"/>
                  </a:cubicBezTo>
                  <a:cubicBezTo>
                    <a:pt x="170" y="54"/>
                    <a:pt x="170" y="54"/>
                    <a:pt x="170" y="54"/>
                  </a:cubicBezTo>
                  <a:cubicBezTo>
                    <a:pt x="221" y="59"/>
                    <a:pt x="261" y="99"/>
                    <a:pt x="266" y="149"/>
                  </a:cubicBezTo>
                  <a:close/>
                  <a:moveTo>
                    <a:pt x="149" y="149"/>
                  </a:moveTo>
                  <a:cubicBezTo>
                    <a:pt x="107" y="149"/>
                    <a:pt x="107" y="149"/>
                    <a:pt x="107" y="149"/>
                  </a:cubicBezTo>
                  <a:cubicBezTo>
                    <a:pt x="112" y="128"/>
                    <a:pt x="128" y="112"/>
                    <a:pt x="149" y="107"/>
                  </a:cubicBezTo>
                  <a:lnTo>
                    <a:pt x="149" y="149"/>
                  </a:lnTo>
                  <a:close/>
                  <a:moveTo>
                    <a:pt x="149" y="170"/>
                  </a:moveTo>
                  <a:cubicBezTo>
                    <a:pt x="149" y="212"/>
                    <a:pt x="149" y="212"/>
                    <a:pt x="149" y="212"/>
                  </a:cubicBezTo>
                  <a:cubicBezTo>
                    <a:pt x="128" y="208"/>
                    <a:pt x="112" y="191"/>
                    <a:pt x="107" y="170"/>
                  </a:cubicBezTo>
                  <a:lnTo>
                    <a:pt x="149" y="170"/>
                  </a:lnTo>
                  <a:close/>
                  <a:moveTo>
                    <a:pt x="170" y="170"/>
                  </a:moveTo>
                  <a:cubicBezTo>
                    <a:pt x="212" y="170"/>
                    <a:pt x="212" y="170"/>
                    <a:pt x="212" y="170"/>
                  </a:cubicBezTo>
                  <a:cubicBezTo>
                    <a:pt x="208" y="191"/>
                    <a:pt x="191" y="208"/>
                    <a:pt x="170" y="212"/>
                  </a:cubicBezTo>
                  <a:lnTo>
                    <a:pt x="170" y="170"/>
                  </a:lnTo>
                  <a:close/>
                  <a:moveTo>
                    <a:pt x="170" y="149"/>
                  </a:moveTo>
                  <a:cubicBezTo>
                    <a:pt x="170" y="107"/>
                    <a:pt x="170" y="107"/>
                    <a:pt x="170" y="107"/>
                  </a:cubicBezTo>
                  <a:cubicBezTo>
                    <a:pt x="191" y="112"/>
                    <a:pt x="208" y="128"/>
                    <a:pt x="212" y="149"/>
                  </a:cubicBezTo>
                  <a:lnTo>
                    <a:pt x="170" y="149"/>
                  </a:lnTo>
                  <a:close/>
                  <a:moveTo>
                    <a:pt x="149" y="54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16" y="91"/>
                    <a:pt x="91" y="116"/>
                    <a:pt x="86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59" y="99"/>
                    <a:pt x="99" y="59"/>
                    <a:pt x="149" y="54"/>
                  </a:cubicBezTo>
                  <a:close/>
                  <a:moveTo>
                    <a:pt x="54" y="170"/>
                  </a:moveTo>
                  <a:cubicBezTo>
                    <a:pt x="86" y="170"/>
                    <a:pt x="86" y="170"/>
                    <a:pt x="86" y="170"/>
                  </a:cubicBezTo>
                  <a:cubicBezTo>
                    <a:pt x="91" y="203"/>
                    <a:pt x="116" y="229"/>
                    <a:pt x="149" y="233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99" y="261"/>
                    <a:pt x="59" y="221"/>
                    <a:pt x="54" y="170"/>
                  </a:cubicBezTo>
                  <a:close/>
                  <a:moveTo>
                    <a:pt x="170" y="266"/>
                  </a:moveTo>
                  <a:cubicBezTo>
                    <a:pt x="170" y="233"/>
                    <a:pt x="170" y="233"/>
                    <a:pt x="170" y="233"/>
                  </a:cubicBezTo>
                  <a:cubicBezTo>
                    <a:pt x="203" y="229"/>
                    <a:pt x="229" y="203"/>
                    <a:pt x="233" y="170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61" y="221"/>
                    <a:pt x="221" y="261"/>
                    <a:pt x="170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2" name="Freeform 434">
              <a:extLst>
                <a:ext uri="{FF2B5EF4-FFF2-40B4-BE49-F238E27FC236}">
                  <a16:creationId xmlns:a16="http://schemas.microsoft.com/office/drawing/2014/main" id="{FDD5F1A3-5FB2-417D-AA03-77AB924AC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5" y="15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33" name="Group 614">
            <a:extLst>
              <a:ext uri="{FF2B5EF4-FFF2-40B4-BE49-F238E27FC236}">
                <a16:creationId xmlns:a16="http://schemas.microsoft.com/office/drawing/2014/main" id="{0545338C-AFA0-423B-9A7D-8F01C456AD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91" y="3879118"/>
            <a:ext cx="396002" cy="396004"/>
            <a:chOff x="3780" y="2658"/>
            <a:chExt cx="340" cy="340"/>
          </a:xfrm>
          <a:solidFill>
            <a:srgbClr val="014694"/>
          </a:solidFill>
        </p:grpSpPr>
        <p:sp>
          <p:nvSpPr>
            <p:cNvPr id="34" name="Freeform 615">
              <a:extLst>
                <a:ext uri="{FF2B5EF4-FFF2-40B4-BE49-F238E27FC236}">
                  <a16:creationId xmlns:a16="http://schemas.microsoft.com/office/drawing/2014/main" id="{DAD7CCF8-E46F-4245-9434-74C887810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99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5" name="Freeform 616">
              <a:extLst>
                <a:ext uri="{FF2B5EF4-FFF2-40B4-BE49-F238E27FC236}">
                  <a16:creationId xmlns:a16="http://schemas.microsoft.com/office/drawing/2014/main" id="{D4C0F9BF-FCFE-4F6B-8E9F-DFA453E89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57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6" name="Freeform 617">
              <a:extLst>
                <a:ext uri="{FF2B5EF4-FFF2-40B4-BE49-F238E27FC236}">
                  <a16:creationId xmlns:a16="http://schemas.microsoft.com/office/drawing/2014/main" id="{91103113-953E-41ED-B59A-B3E87432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42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7" name="Freeform 618">
              <a:extLst>
                <a:ext uri="{FF2B5EF4-FFF2-40B4-BE49-F238E27FC236}">
                  <a16:creationId xmlns:a16="http://schemas.microsoft.com/office/drawing/2014/main" id="{5D35476D-9FBA-4899-9CAC-F43B97BFC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99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8" name="Freeform 619">
              <a:extLst>
                <a:ext uri="{FF2B5EF4-FFF2-40B4-BE49-F238E27FC236}">
                  <a16:creationId xmlns:a16="http://schemas.microsoft.com/office/drawing/2014/main" id="{85F9C14B-9E17-4A36-8E2B-DD1FFC19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57"/>
              <a:ext cx="135" cy="14"/>
            </a:xfrm>
            <a:custGeom>
              <a:avLst/>
              <a:gdLst>
                <a:gd name="T0" fmla="*/ 10 w 202"/>
                <a:gd name="T1" fmla="*/ 21 h 21"/>
                <a:gd name="T2" fmla="*/ 192 w 202"/>
                <a:gd name="T3" fmla="*/ 21 h 21"/>
                <a:gd name="T4" fmla="*/ 202 w 202"/>
                <a:gd name="T5" fmla="*/ 11 h 21"/>
                <a:gd name="T6" fmla="*/ 192 w 202"/>
                <a:gd name="T7" fmla="*/ 0 h 21"/>
                <a:gd name="T8" fmla="*/ 10 w 202"/>
                <a:gd name="T9" fmla="*/ 0 h 21"/>
                <a:gd name="T10" fmla="*/ 0 w 202"/>
                <a:gd name="T11" fmla="*/ 11 h 21"/>
                <a:gd name="T12" fmla="*/ 10 w 20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0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9" name="Freeform 620">
              <a:extLst>
                <a:ext uri="{FF2B5EF4-FFF2-40B4-BE49-F238E27FC236}">
                  <a16:creationId xmlns:a16="http://schemas.microsoft.com/office/drawing/2014/main" id="{602CFDBC-A5B0-4A1A-AEC2-DEC57CC31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42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0" name="Freeform 621">
              <a:extLst>
                <a:ext uri="{FF2B5EF4-FFF2-40B4-BE49-F238E27FC236}">
                  <a16:creationId xmlns:a16="http://schemas.microsoft.com/office/drawing/2014/main" id="{83925D3E-BACB-41FD-95EB-9B429B826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84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1" name="Freeform 622">
              <a:extLst>
                <a:ext uri="{FF2B5EF4-FFF2-40B4-BE49-F238E27FC236}">
                  <a16:creationId xmlns:a16="http://schemas.microsoft.com/office/drawing/2014/main" id="{FD6360BF-6166-4376-9427-B2D8FDA9F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84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2" name="Freeform 623">
              <a:extLst>
                <a:ext uri="{FF2B5EF4-FFF2-40B4-BE49-F238E27FC236}">
                  <a16:creationId xmlns:a16="http://schemas.microsoft.com/office/drawing/2014/main" id="{5771B5AB-8101-4A85-B29F-7116AAE853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0" y="26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4268190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A313E9-F04F-49A2-B09B-8380EAB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073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A313E9-F04F-49A2-B09B-8380EAB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DACF3A-9624-4BB9-91F7-390F10A5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 vert="horz"/>
          <a:lstStyle/>
          <a:p>
            <a:r>
              <a:rPr lang="nb-NO" sz="2800"/>
              <a:t>Hovedforskjeller: Utføre vare-/tjenestemottak </a:t>
            </a:r>
            <a:endParaRPr lang="en-US"/>
          </a:p>
        </p:txBody>
      </p:sp>
      <p:sp>
        <p:nvSpPr>
          <p:cNvPr id="13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054762" y="1117355"/>
            <a:ext cx="7520901" cy="9150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>
                <a:solidFill>
                  <a:schemeClr val="tx1"/>
                </a:solidFill>
              </a:rPr>
              <a:t>Ny matchelogikk betyr at det er anbefalt å gjøre </a:t>
            </a:r>
            <a:r>
              <a:rPr lang="nb-NO" sz="1100" b="1">
                <a:solidFill>
                  <a:srgbClr val="014694"/>
                </a:solidFill>
              </a:rPr>
              <a:t>varemottak etter at faktura er mottatt </a:t>
            </a:r>
            <a:r>
              <a:rPr lang="nb-NO" sz="1100">
                <a:solidFill>
                  <a:schemeClr val="tx1"/>
                </a:solidFill>
              </a:rPr>
              <a:t>enten når faktura ligger i ventetrinn eller som oppgave manglende varemottak.</a:t>
            </a:r>
          </a:p>
          <a:p>
            <a:r>
              <a:rPr lang="nb-NO" sz="1100">
                <a:solidFill>
                  <a:schemeClr val="tx1"/>
                </a:solidFill>
                <a:cs typeface="Arial"/>
              </a:rPr>
              <a:t>- e-faktura gjør at faktura i de fleste tilfeller er innlest før varen leveres</a:t>
            </a:r>
          </a:p>
          <a:p>
            <a:r>
              <a:rPr lang="nb-NO" sz="1100">
                <a:solidFill>
                  <a:schemeClr val="tx1"/>
                </a:solidFill>
                <a:cs typeface="Arial"/>
              </a:rPr>
              <a:t>- det er fortsatt mulig å ta varemottak selv om faktura ikke er lest inn enda</a:t>
            </a:r>
          </a:p>
        </p:txBody>
      </p:sp>
      <p:sp>
        <p:nvSpPr>
          <p:cNvPr id="14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10295" y="1119258"/>
            <a:ext cx="545584" cy="9165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D0E16615-BF0B-464E-BF5F-31863CC7FBFE}"/>
              </a:ext>
            </a:extLst>
          </p:cNvPr>
          <p:cNvSpPr/>
          <p:nvPr/>
        </p:nvSpPr>
        <p:spPr>
          <a:xfrm>
            <a:off x="1054922" y="2147431"/>
            <a:ext cx="7520900" cy="11711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  <a:ea typeface="+mn-lt"/>
                <a:cs typeface="+mn-lt"/>
              </a:rPr>
              <a:t>Endret matchelogikk fra sum til linjematch 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– Når man gjør varemottak etter at faktura er innlest, må man avstemme varemottaket mot fakturabildet. Dvs. man må legge til evt. linjer som manglet i ordren, f.eks. frakt, samt endre sum/antall/</a:t>
            </a:r>
            <a:r>
              <a:rPr lang="nb-NO" sz="1100" err="1">
                <a:solidFill>
                  <a:schemeClr val="tx1"/>
                </a:solidFill>
                <a:ea typeface="+mn-lt"/>
                <a:cs typeface="+mn-lt"/>
              </a:rPr>
              <a:t>mva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-koder hvis ordren og fakturaen ikke stemmer overens. 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OBS! Man skal allikevel </a:t>
            </a:r>
            <a:r>
              <a:rPr lang="nb-NO" sz="1100" b="1">
                <a:solidFill>
                  <a:schemeClr val="tx1"/>
                </a:solidFill>
                <a:ea typeface="+mn-lt"/>
                <a:cs typeface="+mn-lt"/>
              </a:rPr>
              <a:t>ikke 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ta varemottak på noe som ikke er levert, eller hvis noe er feillevert, uansett hva som står på fakturen.   </a:t>
            </a:r>
            <a:endParaRPr lang="nb-NO">
              <a:solidFill>
                <a:schemeClr val="tx1"/>
              </a:solidFill>
            </a:endParaRPr>
          </a:p>
        </p:txBody>
      </p:sp>
      <p:sp>
        <p:nvSpPr>
          <p:cNvPr id="22" name="Rektangel 24">
            <a:extLst>
              <a:ext uri="{FF2B5EF4-FFF2-40B4-BE49-F238E27FC236}">
                <a16:creationId xmlns:a16="http://schemas.microsoft.com/office/drawing/2014/main" id="{A31905A7-4353-4850-A871-198B73584ECC}"/>
              </a:ext>
            </a:extLst>
          </p:cNvPr>
          <p:cNvSpPr/>
          <p:nvPr/>
        </p:nvSpPr>
        <p:spPr>
          <a:xfrm>
            <a:off x="410295" y="2145054"/>
            <a:ext cx="545584" cy="11735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ktangel 7">
            <a:extLst>
              <a:ext uri="{FF2B5EF4-FFF2-40B4-BE49-F238E27FC236}">
                <a16:creationId xmlns:a16="http://schemas.microsoft.com/office/drawing/2014/main" id="{32415137-CE73-42D7-8992-21FDCCC29E97}"/>
              </a:ext>
            </a:extLst>
          </p:cNvPr>
          <p:cNvSpPr/>
          <p:nvPr/>
        </p:nvSpPr>
        <p:spPr>
          <a:xfrm>
            <a:off x="1054762" y="3435303"/>
            <a:ext cx="7520901" cy="9133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err="1">
                <a:solidFill>
                  <a:srgbClr val="014694"/>
                </a:solidFill>
                <a:cs typeface="Arial"/>
              </a:rPr>
              <a:t>Fagrekvirent</a:t>
            </a:r>
            <a:r>
              <a:rPr lang="en-US" sz="1100" b="1">
                <a:solidFill>
                  <a:srgbClr val="014694"/>
                </a:solidFill>
                <a:cs typeface="Arial"/>
              </a:rPr>
              <a:t> </a:t>
            </a:r>
            <a:r>
              <a:rPr lang="en-US" sz="1100" b="1" i="1" err="1">
                <a:solidFill>
                  <a:srgbClr val="014694"/>
                </a:solidFill>
                <a:cs typeface="Arial"/>
              </a:rPr>
              <a:t>behandler</a:t>
            </a:r>
            <a:r>
              <a:rPr lang="en-US" sz="1100" b="1" i="1">
                <a:solidFill>
                  <a:srgbClr val="014694"/>
                </a:solidFill>
                <a:cs typeface="Arial"/>
              </a:rPr>
              <a:t> </a:t>
            </a:r>
            <a:r>
              <a:rPr lang="en-US" sz="1100" b="1" err="1">
                <a:solidFill>
                  <a:srgbClr val="014694"/>
                </a:solidFill>
                <a:cs typeface="Arial"/>
              </a:rPr>
              <a:t>ikke</a:t>
            </a:r>
            <a:r>
              <a:rPr lang="en-US" sz="1100" b="1">
                <a:solidFill>
                  <a:srgbClr val="014694"/>
                </a:solidFill>
                <a:cs typeface="Arial"/>
              </a:rPr>
              <a:t> faktura</a:t>
            </a:r>
            <a:r>
              <a:rPr lang="en-US" sz="1100">
                <a:solidFill>
                  <a:schemeClr val="tx1"/>
                </a:solidFill>
                <a:cs typeface="Arial"/>
              </a:rPr>
              <a:t>, men ser et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bilde</a:t>
            </a:r>
            <a:r>
              <a:rPr lang="en-US" sz="1100">
                <a:solidFill>
                  <a:schemeClr val="tx1"/>
                </a:solidFill>
                <a:cs typeface="Arial"/>
              </a:rPr>
              <a:t> av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fakturaen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i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varemottaksbildet</a:t>
            </a:r>
            <a:r>
              <a:rPr lang="en-US" sz="1100">
                <a:solidFill>
                  <a:schemeClr val="tx1"/>
                </a:solidFill>
                <a:cs typeface="Arial"/>
              </a:rPr>
              <a:t>,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på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lik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linje</a:t>
            </a:r>
            <a:r>
              <a:rPr lang="en-US" sz="1100">
                <a:solidFill>
                  <a:schemeClr val="tx1"/>
                </a:solidFill>
                <a:cs typeface="Arial"/>
              </a:rPr>
              <a:t> med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innkjøperen</a:t>
            </a:r>
            <a:r>
              <a:rPr lang="en-US" sz="1100">
                <a:solidFill>
                  <a:schemeClr val="tx1"/>
                </a:solidFill>
                <a:cs typeface="Arial"/>
              </a:rPr>
              <a:t>.</a:t>
            </a:r>
            <a:endParaRPr lang="en-US" sz="110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en-US" sz="1100" err="1">
                <a:solidFill>
                  <a:schemeClr val="tx1"/>
                </a:solidFill>
                <a:cs typeface="Arial"/>
              </a:rPr>
              <a:t>Hvis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endringer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gjøres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i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varemottaket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som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krever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ny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attestasjon</a:t>
            </a:r>
            <a:r>
              <a:rPr lang="en-US" sz="1100">
                <a:solidFill>
                  <a:schemeClr val="tx1"/>
                </a:solidFill>
                <a:cs typeface="Arial"/>
              </a:rPr>
              <a:t>/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godkjenning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så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går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fakturaen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på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nb-NO" sz="1100">
                <a:solidFill>
                  <a:schemeClr val="tx1"/>
                </a:solidFill>
                <a:cs typeface="Arial"/>
              </a:rPr>
              <a:t>arbeidsflyt til innkjøpergruppen.</a:t>
            </a:r>
            <a:endParaRPr lang="nb-NO">
              <a:solidFill>
                <a:schemeClr val="tx1"/>
              </a:solidFill>
            </a:endParaRPr>
          </a:p>
        </p:txBody>
      </p:sp>
      <p:sp>
        <p:nvSpPr>
          <p:cNvPr id="30" name="Rektangel 24">
            <a:extLst>
              <a:ext uri="{FF2B5EF4-FFF2-40B4-BE49-F238E27FC236}">
                <a16:creationId xmlns:a16="http://schemas.microsoft.com/office/drawing/2014/main" id="{5785522D-EE48-4A66-B8D8-2CFF2D9062F0}"/>
              </a:ext>
            </a:extLst>
          </p:cNvPr>
          <p:cNvSpPr/>
          <p:nvPr/>
        </p:nvSpPr>
        <p:spPr>
          <a:xfrm>
            <a:off x="410295" y="3434091"/>
            <a:ext cx="545584" cy="9040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7" name="Group 862">
            <a:extLst>
              <a:ext uri="{FF2B5EF4-FFF2-40B4-BE49-F238E27FC236}">
                <a16:creationId xmlns:a16="http://schemas.microsoft.com/office/drawing/2014/main" id="{2BB0456A-07F8-46F9-9B95-360AE5C908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623" y="3686080"/>
            <a:ext cx="394844" cy="396000"/>
            <a:chOff x="6607" y="3441"/>
            <a:chExt cx="340" cy="341"/>
          </a:xfrm>
          <a:solidFill>
            <a:srgbClr val="014694"/>
          </a:solidFill>
        </p:grpSpPr>
        <p:sp>
          <p:nvSpPr>
            <p:cNvPr id="28" name="Freeform 863">
              <a:extLst>
                <a:ext uri="{FF2B5EF4-FFF2-40B4-BE49-F238E27FC236}">
                  <a16:creationId xmlns:a16="http://schemas.microsoft.com/office/drawing/2014/main" id="{5FAEC65D-2AED-4B2F-A506-ECFC0D1A8E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7" y="344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1" name="Freeform 864">
              <a:extLst>
                <a:ext uri="{FF2B5EF4-FFF2-40B4-BE49-F238E27FC236}">
                  <a16:creationId xmlns:a16="http://schemas.microsoft.com/office/drawing/2014/main" id="{5A9D7B40-E046-455A-9F4A-2A9BF2E4DE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1" y="3519"/>
              <a:ext cx="198" cy="184"/>
            </a:xfrm>
            <a:custGeom>
              <a:avLst/>
              <a:gdLst>
                <a:gd name="T0" fmla="*/ 256 w 298"/>
                <a:gd name="T1" fmla="*/ 192 h 277"/>
                <a:gd name="T2" fmla="*/ 223 w 298"/>
                <a:gd name="T3" fmla="*/ 208 h 277"/>
                <a:gd name="T4" fmla="*/ 84 w 298"/>
                <a:gd name="T5" fmla="*/ 146 h 277"/>
                <a:gd name="T6" fmla="*/ 85 w 298"/>
                <a:gd name="T7" fmla="*/ 139 h 277"/>
                <a:gd name="T8" fmla="*/ 84 w 298"/>
                <a:gd name="T9" fmla="*/ 131 h 277"/>
                <a:gd name="T10" fmla="*/ 223 w 298"/>
                <a:gd name="T11" fmla="*/ 69 h 277"/>
                <a:gd name="T12" fmla="*/ 256 w 298"/>
                <a:gd name="T13" fmla="*/ 85 h 277"/>
                <a:gd name="T14" fmla="*/ 298 w 298"/>
                <a:gd name="T15" fmla="*/ 43 h 277"/>
                <a:gd name="T16" fmla="*/ 256 w 298"/>
                <a:gd name="T17" fmla="*/ 0 h 277"/>
                <a:gd name="T18" fmla="*/ 213 w 298"/>
                <a:gd name="T19" fmla="*/ 43 h 277"/>
                <a:gd name="T20" fmla="*/ 214 w 298"/>
                <a:gd name="T21" fmla="*/ 50 h 277"/>
                <a:gd name="T22" fmla="*/ 75 w 298"/>
                <a:gd name="T23" fmla="*/ 112 h 277"/>
                <a:gd name="T24" fmla="*/ 42 w 298"/>
                <a:gd name="T25" fmla="*/ 96 h 277"/>
                <a:gd name="T26" fmla="*/ 0 w 298"/>
                <a:gd name="T27" fmla="*/ 139 h 277"/>
                <a:gd name="T28" fmla="*/ 42 w 298"/>
                <a:gd name="T29" fmla="*/ 181 h 277"/>
                <a:gd name="T30" fmla="*/ 75 w 298"/>
                <a:gd name="T31" fmla="*/ 165 h 277"/>
                <a:gd name="T32" fmla="*/ 214 w 298"/>
                <a:gd name="T33" fmla="*/ 227 h 277"/>
                <a:gd name="T34" fmla="*/ 213 w 298"/>
                <a:gd name="T35" fmla="*/ 235 h 277"/>
                <a:gd name="T36" fmla="*/ 256 w 298"/>
                <a:gd name="T37" fmla="*/ 277 h 277"/>
                <a:gd name="T38" fmla="*/ 298 w 298"/>
                <a:gd name="T39" fmla="*/ 235 h 277"/>
                <a:gd name="T40" fmla="*/ 256 w 298"/>
                <a:gd name="T41" fmla="*/ 192 h 277"/>
                <a:gd name="T42" fmla="*/ 256 w 298"/>
                <a:gd name="T43" fmla="*/ 21 h 277"/>
                <a:gd name="T44" fmla="*/ 277 w 298"/>
                <a:gd name="T45" fmla="*/ 43 h 277"/>
                <a:gd name="T46" fmla="*/ 256 w 298"/>
                <a:gd name="T47" fmla="*/ 64 h 277"/>
                <a:gd name="T48" fmla="*/ 234 w 298"/>
                <a:gd name="T49" fmla="*/ 43 h 277"/>
                <a:gd name="T50" fmla="*/ 256 w 298"/>
                <a:gd name="T51" fmla="*/ 21 h 277"/>
                <a:gd name="T52" fmla="*/ 42 w 298"/>
                <a:gd name="T53" fmla="*/ 160 h 277"/>
                <a:gd name="T54" fmla="*/ 21 w 298"/>
                <a:gd name="T55" fmla="*/ 139 h 277"/>
                <a:gd name="T56" fmla="*/ 42 w 298"/>
                <a:gd name="T57" fmla="*/ 117 h 277"/>
                <a:gd name="T58" fmla="*/ 64 w 298"/>
                <a:gd name="T59" fmla="*/ 139 h 277"/>
                <a:gd name="T60" fmla="*/ 42 w 298"/>
                <a:gd name="T61" fmla="*/ 160 h 277"/>
                <a:gd name="T62" fmla="*/ 256 w 298"/>
                <a:gd name="T63" fmla="*/ 256 h 277"/>
                <a:gd name="T64" fmla="*/ 234 w 298"/>
                <a:gd name="T65" fmla="*/ 235 h 277"/>
                <a:gd name="T66" fmla="*/ 256 w 298"/>
                <a:gd name="T67" fmla="*/ 213 h 277"/>
                <a:gd name="T68" fmla="*/ 277 w 298"/>
                <a:gd name="T69" fmla="*/ 235 h 277"/>
                <a:gd name="T70" fmla="*/ 256 w 298"/>
                <a:gd name="T7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" h="277">
                  <a:moveTo>
                    <a:pt x="256" y="192"/>
                  </a:moveTo>
                  <a:cubicBezTo>
                    <a:pt x="242" y="192"/>
                    <a:pt x="230" y="198"/>
                    <a:pt x="223" y="208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5" y="143"/>
                    <a:pt x="85" y="141"/>
                    <a:pt x="85" y="139"/>
                  </a:cubicBezTo>
                  <a:cubicBezTo>
                    <a:pt x="85" y="136"/>
                    <a:pt x="85" y="134"/>
                    <a:pt x="84" y="13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30" y="79"/>
                    <a:pt x="242" y="85"/>
                    <a:pt x="256" y="85"/>
                  </a:cubicBezTo>
                  <a:cubicBezTo>
                    <a:pt x="279" y="85"/>
                    <a:pt x="298" y="66"/>
                    <a:pt x="298" y="43"/>
                  </a:cubicBezTo>
                  <a:cubicBezTo>
                    <a:pt x="298" y="19"/>
                    <a:pt x="279" y="0"/>
                    <a:pt x="256" y="0"/>
                  </a:cubicBezTo>
                  <a:cubicBezTo>
                    <a:pt x="232" y="0"/>
                    <a:pt x="213" y="19"/>
                    <a:pt x="213" y="43"/>
                  </a:cubicBezTo>
                  <a:cubicBezTo>
                    <a:pt x="213" y="45"/>
                    <a:pt x="213" y="48"/>
                    <a:pt x="214" y="50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68" y="102"/>
                    <a:pt x="56" y="96"/>
                    <a:pt x="42" y="96"/>
                  </a:cubicBezTo>
                  <a:cubicBezTo>
                    <a:pt x="19" y="96"/>
                    <a:pt x="0" y="115"/>
                    <a:pt x="0" y="139"/>
                  </a:cubicBezTo>
                  <a:cubicBezTo>
                    <a:pt x="0" y="162"/>
                    <a:pt x="19" y="181"/>
                    <a:pt x="42" y="181"/>
                  </a:cubicBezTo>
                  <a:cubicBezTo>
                    <a:pt x="56" y="181"/>
                    <a:pt x="68" y="175"/>
                    <a:pt x="75" y="165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30"/>
                    <a:pt x="213" y="232"/>
                    <a:pt x="213" y="235"/>
                  </a:cubicBezTo>
                  <a:cubicBezTo>
                    <a:pt x="213" y="258"/>
                    <a:pt x="232" y="277"/>
                    <a:pt x="256" y="277"/>
                  </a:cubicBezTo>
                  <a:cubicBezTo>
                    <a:pt x="279" y="277"/>
                    <a:pt x="298" y="258"/>
                    <a:pt x="298" y="235"/>
                  </a:cubicBezTo>
                  <a:cubicBezTo>
                    <a:pt x="298" y="211"/>
                    <a:pt x="279" y="192"/>
                    <a:pt x="256" y="192"/>
                  </a:cubicBezTo>
                  <a:close/>
                  <a:moveTo>
                    <a:pt x="256" y="21"/>
                  </a:moveTo>
                  <a:cubicBezTo>
                    <a:pt x="267" y="21"/>
                    <a:pt x="277" y="31"/>
                    <a:pt x="277" y="43"/>
                  </a:cubicBezTo>
                  <a:cubicBezTo>
                    <a:pt x="277" y="54"/>
                    <a:pt x="267" y="64"/>
                    <a:pt x="256" y="64"/>
                  </a:cubicBezTo>
                  <a:cubicBezTo>
                    <a:pt x="244" y="64"/>
                    <a:pt x="234" y="54"/>
                    <a:pt x="234" y="43"/>
                  </a:cubicBezTo>
                  <a:cubicBezTo>
                    <a:pt x="234" y="31"/>
                    <a:pt x="244" y="21"/>
                    <a:pt x="256" y="21"/>
                  </a:cubicBezTo>
                  <a:close/>
                  <a:moveTo>
                    <a:pt x="42" y="160"/>
                  </a:moveTo>
                  <a:cubicBezTo>
                    <a:pt x="31" y="160"/>
                    <a:pt x="21" y="150"/>
                    <a:pt x="21" y="139"/>
                  </a:cubicBezTo>
                  <a:cubicBezTo>
                    <a:pt x="21" y="127"/>
                    <a:pt x="31" y="117"/>
                    <a:pt x="42" y="117"/>
                  </a:cubicBezTo>
                  <a:cubicBezTo>
                    <a:pt x="54" y="117"/>
                    <a:pt x="64" y="127"/>
                    <a:pt x="64" y="139"/>
                  </a:cubicBezTo>
                  <a:cubicBezTo>
                    <a:pt x="64" y="150"/>
                    <a:pt x="54" y="160"/>
                    <a:pt x="42" y="160"/>
                  </a:cubicBezTo>
                  <a:close/>
                  <a:moveTo>
                    <a:pt x="256" y="256"/>
                  </a:moveTo>
                  <a:cubicBezTo>
                    <a:pt x="244" y="256"/>
                    <a:pt x="234" y="246"/>
                    <a:pt x="234" y="235"/>
                  </a:cubicBezTo>
                  <a:cubicBezTo>
                    <a:pt x="234" y="223"/>
                    <a:pt x="244" y="213"/>
                    <a:pt x="256" y="213"/>
                  </a:cubicBezTo>
                  <a:cubicBezTo>
                    <a:pt x="267" y="213"/>
                    <a:pt x="277" y="223"/>
                    <a:pt x="277" y="235"/>
                  </a:cubicBezTo>
                  <a:cubicBezTo>
                    <a:pt x="277" y="246"/>
                    <a:pt x="267" y="256"/>
                    <a:pt x="256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32" name="Group 1023">
            <a:extLst>
              <a:ext uri="{FF2B5EF4-FFF2-40B4-BE49-F238E27FC236}">
                <a16:creationId xmlns:a16="http://schemas.microsoft.com/office/drawing/2014/main" id="{9F695F25-005E-463C-80D5-21A4B47ABD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623" y="2564313"/>
            <a:ext cx="396000" cy="396000"/>
            <a:chOff x="5852" y="4018"/>
            <a:chExt cx="340" cy="340"/>
          </a:xfrm>
          <a:solidFill>
            <a:srgbClr val="014694"/>
          </a:solidFill>
        </p:grpSpPr>
        <p:sp>
          <p:nvSpPr>
            <p:cNvPr id="33" name="Freeform 1024">
              <a:extLst>
                <a:ext uri="{FF2B5EF4-FFF2-40B4-BE49-F238E27FC236}">
                  <a16:creationId xmlns:a16="http://schemas.microsoft.com/office/drawing/2014/main" id="{FCDA17FE-2FBE-432F-99FE-EB3ABCEDF4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401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34" name="Freeform 1025">
              <a:extLst>
                <a:ext uri="{FF2B5EF4-FFF2-40B4-BE49-F238E27FC236}">
                  <a16:creationId xmlns:a16="http://schemas.microsoft.com/office/drawing/2014/main" id="{A36806BC-058A-4E02-B3CC-D41DF73CC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0" y="4096"/>
              <a:ext cx="184" cy="184"/>
            </a:xfrm>
            <a:custGeom>
              <a:avLst/>
              <a:gdLst>
                <a:gd name="T0" fmla="*/ 277 w 277"/>
                <a:gd name="T1" fmla="*/ 53 h 277"/>
                <a:gd name="T2" fmla="*/ 267 w 277"/>
                <a:gd name="T3" fmla="*/ 0 h 277"/>
                <a:gd name="T4" fmla="*/ 213 w 277"/>
                <a:gd name="T5" fmla="*/ 11 h 277"/>
                <a:gd name="T6" fmla="*/ 64 w 277"/>
                <a:gd name="T7" fmla="*/ 21 h 277"/>
                <a:gd name="T8" fmla="*/ 53 w 277"/>
                <a:gd name="T9" fmla="*/ 0 h 277"/>
                <a:gd name="T10" fmla="*/ 0 w 277"/>
                <a:gd name="T11" fmla="*/ 11 h 277"/>
                <a:gd name="T12" fmla="*/ 11 w 277"/>
                <a:gd name="T13" fmla="*/ 64 h 277"/>
                <a:gd name="T14" fmla="*/ 21 w 277"/>
                <a:gd name="T15" fmla="*/ 213 h 277"/>
                <a:gd name="T16" fmla="*/ 0 w 277"/>
                <a:gd name="T17" fmla="*/ 224 h 277"/>
                <a:gd name="T18" fmla="*/ 11 w 277"/>
                <a:gd name="T19" fmla="*/ 277 h 277"/>
                <a:gd name="T20" fmla="*/ 64 w 277"/>
                <a:gd name="T21" fmla="*/ 267 h 277"/>
                <a:gd name="T22" fmla="*/ 213 w 277"/>
                <a:gd name="T23" fmla="*/ 256 h 277"/>
                <a:gd name="T24" fmla="*/ 224 w 277"/>
                <a:gd name="T25" fmla="*/ 277 h 277"/>
                <a:gd name="T26" fmla="*/ 277 w 277"/>
                <a:gd name="T27" fmla="*/ 267 h 277"/>
                <a:gd name="T28" fmla="*/ 267 w 277"/>
                <a:gd name="T29" fmla="*/ 213 h 277"/>
                <a:gd name="T30" fmla="*/ 256 w 277"/>
                <a:gd name="T31" fmla="*/ 64 h 277"/>
                <a:gd name="T32" fmla="*/ 235 w 277"/>
                <a:gd name="T33" fmla="*/ 21 h 277"/>
                <a:gd name="T34" fmla="*/ 256 w 277"/>
                <a:gd name="T35" fmla="*/ 43 h 277"/>
                <a:gd name="T36" fmla="*/ 235 w 277"/>
                <a:gd name="T37" fmla="*/ 21 h 277"/>
                <a:gd name="T38" fmla="*/ 43 w 277"/>
                <a:gd name="T39" fmla="*/ 21 h 277"/>
                <a:gd name="T40" fmla="*/ 21 w 277"/>
                <a:gd name="T41" fmla="*/ 43 h 277"/>
                <a:gd name="T42" fmla="*/ 43 w 277"/>
                <a:gd name="T43" fmla="*/ 256 h 277"/>
                <a:gd name="T44" fmla="*/ 21 w 277"/>
                <a:gd name="T45" fmla="*/ 235 h 277"/>
                <a:gd name="T46" fmla="*/ 43 w 277"/>
                <a:gd name="T47" fmla="*/ 256 h 277"/>
                <a:gd name="T48" fmla="*/ 235 w 277"/>
                <a:gd name="T49" fmla="*/ 256 h 277"/>
                <a:gd name="T50" fmla="*/ 256 w 277"/>
                <a:gd name="T51" fmla="*/ 235 h 277"/>
                <a:gd name="T52" fmla="*/ 235 w 277"/>
                <a:gd name="T53" fmla="*/ 213 h 277"/>
                <a:gd name="T54" fmla="*/ 213 w 277"/>
                <a:gd name="T55" fmla="*/ 224 h 277"/>
                <a:gd name="T56" fmla="*/ 64 w 277"/>
                <a:gd name="T57" fmla="*/ 235 h 277"/>
                <a:gd name="T58" fmla="*/ 53 w 277"/>
                <a:gd name="T59" fmla="*/ 213 h 277"/>
                <a:gd name="T60" fmla="*/ 43 w 277"/>
                <a:gd name="T61" fmla="*/ 64 h 277"/>
                <a:gd name="T62" fmla="*/ 64 w 277"/>
                <a:gd name="T63" fmla="*/ 53 h 277"/>
                <a:gd name="T64" fmla="*/ 213 w 277"/>
                <a:gd name="T65" fmla="*/ 43 h 277"/>
                <a:gd name="T66" fmla="*/ 224 w 277"/>
                <a:gd name="T67" fmla="*/ 64 h 277"/>
                <a:gd name="T68" fmla="*/ 235 w 277"/>
                <a:gd name="T69" fmla="*/ 213 h 277"/>
                <a:gd name="T70" fmla="*/ 160 w 277"/>
                <a:gd name="T71" fmla="*/ 107 h 277"/>
                <a:gd name="T72" fmla="*/ 149 w 277"/>
                <a:gd name="T73" fmla="*/ 75 h 277"/>
                <a:gd name="T74" fmla="*/ 75 w 277"/>
                <a:gd name="T75" fmla="*/ 85 h 277"/>
                <a:gd name="T76" fmla="*/ 85 w 277"/>
                <a:gd name="T77" fmla="*/ 160 h 277"/>
                <a:gd name="T78" fmla="*/ 107 w 277"/>
                <a:gd name="T79" fmla="*/ 192 h 277"/>
                <a:gd name="T80" fmla="*/ 192 w 277"/>
                <a:gd name="T81" fmla="*/ 203 h 277"/>
                <a:gd name="T82" fmla="*/ 203 w 277"/>
                <a:gd name="T83" fmla="*/ 117 h 277"/>
                <a:gd name="T84" fmla="*/ 96 w 277"/>
                <a:gd name="T85" fmla="*/ 139 h 277"/>
                <a:gd name="T86" fmla="*/ 139 w 277"/>
                <a:gd name="T87" fmla="*/ 96 h 277"/>
                <a:gd name="T88" fmla="*/ 96 w 277"/>
                <a:gd name="T89" fmla="*/ 139 h 277"/>
                <a:gd name="T90" fmla="*/ 128 w 277"/>
                <a:gd name="T91" fmla="*/ 181 h 277"/>
                <a:gd name="T92" fmla="*/ 149 w 277"/>
                <a:gd name="T93" fmla="*/ 160 h 277"/>
                <a:gd name="T94" fmla="*/ 160 w 277"/>
                <a:gd name="T95" fmla="*/ 128 h 277"/>
                <a:gd name="T96" fmla="*/ 181 w 277"/>
                <a:gd name="T97" fmla="*/ 181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7" h="277">
                  <a:moveTo>
                    <a:pt x="267" y="64"/>
                  </a:moveTo>
                  <a:cubicBezTo>
                    <a:pt x="273" y="64"/>
                    <a:pt x="277" y="59"/>
                    <a:pt x="277" y="5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18" y="0"/>
                    <a:pt x="213" y="5"/>
                    <a:pt x="213" y="1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59" y="0"/>
                    <a:pt x="5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1" y="213"/>
                    <a:pt x="21" y="213"/>
                    <a:pt x="21" y="213"/>
                  </a:cubicBezTo>
                  <a:cubicBezTo>
                    <a:pt x="11" y="213"/>
                    <a:pt x="11" y="213"/>
                    <a:pt x="11" y="213"/>
                  </a:cubicBezTo>
                  <a:cubicBezTo>
                    <a:pt x="5" y="213"/>
                    <a:pt x="0" y="218"/>
                    <a:pt x="0" y="224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3"/>
                    <a:pt x="5" y="277"/>
                    <a:pt x="11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9" y="277"/>
                    <a:pt x="64" y="273"/>
                    <a:pt x="64" y="267"/>
                  </a:cubicBezTo>
                  <a:cubicBezTo>
                    <a:pt x="64" y="256"/>
                    <a:pt x="64" y="256"/>
                    <a:pt x="64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3" y="273"/>
                    <a:pt x="218" y="277"/>
                    <a:pt x="224" y="277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73" y="277"/>
                    <a:pt x="277" y="273"/>
                    <a:pt x="277" y="267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18"/>
                    <a:pt x="273" y="213"/>
                    <a:pt x="267" y="213"/>
                  </a:cubicBezTo>
                  <a:cubicBezTo>
                    <a:pt x="256" y="213"/>
                    <a:pt x="256" y="213"/>
                    <a:pt x="256" y="213"/>
                  </a:cubicBezTo>
                  <a:cubicBezTo>
                    <a:pt x="256" y="64"/>
                    <a:pt x="256" y="64"/>
                    <a:pt x="256" y="64"/>
                  </a:cubicBezTo>
                  <a:lnTo>
                    <a:pt x="267" y="64"/>
                  </a:lnTo>
                  <a:close/>
                  <a:moveTo>
                    <a:pt x="235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43"/>
                    <a:pt x="256" y="43"/>
                    <a:pt x="256" y="43"/>
                  </a:cubicBezTo>
                  <a:cubicBezTo>
                    <a:pt x="235" y="43"/>
                    <a:pt x="235" y="43"/>
                    <a:pt x="235" y="43"/>
                  </a:cubicBezTo>
                  <a:lnTo>
                    <a:pt x="235" y="21"/>
                  </a:lnTo>
                  <a:close/>
                  <a:moveTo>
                    <a:pt x="21" y="21"/>
                  </a:moveTo>
                  <a:cubicBezTo>
                    <a:pt x="43" y="21"/>
                    <a:pt x="43" y="21"/>
                    <a:pt x="43" y="21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21" y="43"/>
                    <a:pt x="21" y="43"/>
                    <a:pt x="21" y="43"/>
                  </a:cubicBezTo>
                  <a:lnTo>
                    <a:pt x="21" y="21"/>
                  </a:lnTo>
                  <a:close/>
                  <a:moveTo>
                    <a:pt x="43" y="256"/>
                  </a:moveTo>
                  <a:cubicBezTo>
                    <a:pt x="21" y="256"/>
                    <a:pt x="21" y="256"/>
                    <a:pt x="21" y="256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43" y="235"/>
                    <a:pt x="43" y="235"/>
                    <a:pt x="43" y="235"/>
                  </a:cubicBezTo>
                  <a:lnTo>
                    <a:pt x="43" y="256"/>
                  </a:lnTo>
                  <a:close/>
                  <a:moveTo>
                    <a:pt x="256" y="256"/>
                  </a:moveTo>
                  <a:cubicBezTo>
                    <a:pt x="235" y="256"/>
                    <a:pt x="235" y="256"/>
                    <a:pt x="235" y="256"/>
                  </a:cubicBezTo>
                  <a:cubicBezTo>
                    <a:pt x="235" y="235"/>
                    <a:pt x="235" y="235"/>
                    <a:pt x="235" y="235"/>
                  </a:cubicBezTo>
                  <a:cubicBezTo>
                    <a:pt x="256" y="235"/>
                    <a:pt x="256" y="235"/>
                    <a:pt x="256" y="235"/>
                  </a:cubicBezTo>
                  <a:lnTo>
                    <a:pt x="256" y="256"/>
                  </a:lnTo>
                  <a:close/>
                  <a:moveTo>
                    <a:pt x="235" y="213"/>
                  </a:moveTo>
                  <a:cubicBezTo>
                    <a:pt x="224" y="213"/>
                    <a:pt x="224" y="213"/>
                    <a:pt x="224" y="213"/>
                  </a:cubicBezTo>
                  <a:cubicBezTo>
                    <a:pt x="218" y="213"/>
                    <a:pt x="213" y="218"/>
                    <a:pt x="213" y="224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64" y="235"/>
                    <a:pt x="64" y="235"/>
                    <a:pt x="64" y="235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18"/>
                    <a:pt x="59" y="213"/>
                    <a:pt x="53" y="213"/>
                  </a:cubicBezTo>
                  <a:cubicBezTo>
                    <a:pt x="43" y="213"/>
                    <a:pt x="43" y="213"/>
                    <a:pt x="43" y="213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9" y="64"/>
                    <a:pt x="64" y="59"/>
                    <a:pt x="64" y="5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213" y="43"/>
                    <a:pt x="213" y="43"/>
                    <a:pt x="213" y="43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9"/>
                    <a:pt x="218" y="64"/>
                    <a:pt x="224" y="64"/>
                  </a:cubicBezTo>
                  <a:cubicBezTo>
                    <a:pt x="235" y="64"/>
                    <a:pt x="235" y="64"/>
                    <a:pt x="235" y="64"/>
                  </a:cubicBezTo>
                  <a:lnTo>
                    <a:pt x="235" y="213"/>
                  </a:lnTo>
                  <a:close/>
                  <a:moveTo>
                    <a:pt x="192" y="107"/>
                  </a:moveTo>
                  <a:cubicBezTo>
                    <a:pt x="160" y="107"/>
                    <a:pt x="160" y="107"/>
                    <a:pt x="160" y="107"/>
                  </a:cubicBezTo>
                  <a:cubicBezTo>
                    <a:pt x="160" y="85"/>
                    <a:pt x="160" y="85"/>
                    <a:pt x="160" y="85"/>
                  </a:cubicBezTo>
                  <a:cubicBezTo>
                    <a:pt x="160" y="79"/>
                    <a:pt x="155" y="75"/>
                    <a:pt x="149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79" y="75"/>
                    <a:pt x="75" y="79"/>
                    <a:pt x="75" y="85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55"/>
                    <a:pt x="79" y="160"/>
                    <a:pt x="85" y="160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07" y="198"/>
                    <a:pt x="111" y="203"/>
                    <a:pt x="117" y="203"/>
                  </a:cubicBezTo>
                  <a:cubicBezTo>
                    <a:pt x="192" y="203"/>
                    <a:pt x="192" y="203"/>
                    <a:pt x="192" y="203"/>
                  </a:cubicBezTo>
                  <a:cubicBezTo>
                    <a:pt x="198" y="203"/>
                    <a:pt x="203" y="198"/>
                    <a:pt x="203" y="192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1"/>
                    <a:pt x="198" y="107"/>
                    <a:pt x="192" y="107"/>
                  </a:cubicBezTo>
                  <a:close/>
                  <a:moveTo>
                    <a:pt x="96" y="139"/>
                  </a:moveTo>
                  <a:cubicBezTo>
                    <a:pt x="96" y="96"/>
                    <a:pt x="96" y="96"/>
                    <a:pt x="96" y="96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139"/>
                    <a:pt x="139" y="139"/>
                    <a:pt x="139" y="139"/>
                  </a:cubicBezTo>
                  <a:lnTo>
                    <a:pt x="96" y="139"/>
                  </a:lnTo>
                  <a:close/>
                  <a:moveTo>
                    <a:pt x="181" y="181"/>
                  </a:moveTo>
                  <a:cubicBezTo>
                    <a:pt x="128" y="181"/>
                    <a:pt x="128" y="181"/>
                    <a:pt x="128" y="181"/>
                  </a:cubicBezTo>
                  <a:cubicBezTo>
                    <a:pt x="128" y="160"/>
                    <a:pt x="128" y="160"/>
                    <a:pt x="128" y="160"/>
                  </a:cubicBezTo>
                  <a:cubicBezTo>
                    <a:pt x="149" y="160"/>
                    <a:pt x="149" y="160"/>
                    <a:pt x="149" y="160"/>
                  </a:cubicBezTo>
                  <a:cubicBezTo>
                    <a:pt x="155" y="160"/>
                    <a:pt x="160" y="155"/>
                    <a:pt x="160" y="149"/>
                  </a:cubicBezTo>
                  <a:cubicBezTo>
                    <a:pt x="160" y="128"/>
                    <a:pt x="160" y="128"/>
                    <a:pt x="160" y="128"/>
                  </a:cubicBezTo>
                  <a:cubicBezTo>
                    <a:pt x="181" y="128"/>
                    <a:pt x="181" y="128"/>
                    <a:pt x="181" y="128"/>
                  </a:cubicBezTo>
                  <a:lnTo>
                    <a:pt x="181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  <p:grpSp>
        <p:nvGrpSpPr>
          <p:cNvPr id="35" name="Group 489">
            <a:extLst>
              <a:ext uri="{FF2B5EF4-FFF2-40B4-BE49-F238E27FC236}">
                <a16:creationId xmlns:a16="http://schemas.microsoft.com/office/drawing/2014/main" id="{05858570-D6B7-45A6-BD56-D620CE404C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597" y="1373303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36" name="Freeform 490">
              <a:extLst>
                <a:ext uri="{FF2B5EF4-FFF2-40B4-BE49-F238E27FC236}">
                  <a16:creationId xmlns:a16="http://schemas.microsoft.com/office/drawing/2014/main" id="{A05AE50C-5282-4026-B91D-30B73DE833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37" name="Freeform 491">
              <a:extLst>
                <a:ext uri="{FF2B5EF4-FFF2-40B4-BE49-F238E27FC236}">
                  <a16:creationId xmlns:a16="http://schemas.microsoft.com/office/drawing/2014/main" id="{A9BF72F9-49BF-427B-B2B1-4A0129327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38" name="Freeform 492">
              <a:extLst>
                <a:ext uri="{FF2B5EF4-FFF2-40B4-BE49-F238E27FC236}">
                  <a16:creationId xmlns:a16="http://schemas.microsoft.com/office/drawing/2014/main" id="{815D2295-FB09-4ABD-8766-07B5C87F5B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</p:spTree>
    <p:extLst>
      <p:ext uri="{BB962C8B-B14F-4D97-AF65-F5344CB8AC3E}">
        <p14:creationId xmlns:p14="http://schemas.microsoft.com/office/powerpoint/2010/main" val="33243213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A313E9-F04F-49A2-B09B-8380EAB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A313E9-F04F-49A2-B09B-8380EAB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DACF3A-9624-4BB9-91F7-390F10A5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700687" cy="525401"/>
          </a:xfrm>
        </p:spPr>
        <p:txBody>
          <a:bodyPr vert="horz"/>
          <a:lstStyle/>
          <a:p>
            <a:r>
              <a:rPr lang="nb-NO" sz="2800"/>
              <a:t>Hovedforskjeller: Behandle inngående faktura</a:t>
            </a:r>
          </a:p>
        </p:txBody>
      </p:sp>
      <p:sp>
        <p:nvSpPr>
          <p:cNvPr id="13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054762" y="1109633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>
                <a:solidFill>
                  <a:schemeClr val="tx1"/>
                </a:solidFill>
              </a:rPr>
              <a:t>Faktura sendes ikke direkte til person, men følger </a:t>
            </a:r>
            <a:r>
              <a:rPr lang="nb-NO" sz="1100" b="1">
                <a:solidFill>
                  <a:schemeClr val="tx2"/>
                </a:solidFill>
              </a:rPr>
              <a:t>automatisk flyt basert på k-sted </a:t>
            </a:r>
            <a:r>
              <a:rPr lang="nb-NO" sz="1100">
                <a:solidFill>
                  <a:schemeClr val="tx1"/>
                </a:solidFill>
              </a:rPr>
              <a:t>til en </a:t>
            </a:r>
            <a:r>
              <a:rPr lang="nb-NO" sz="1100" b="1">
                <a:solidFill>
                  <a:schemeClr val="tx2"/>
                </a:solidFill>
              </a:rPr>
              <a:t>innkjøpergruppe, 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og det samme gjelder fra innkjøper til BDM.</a:t>
            </a:r>
          </a:p>
          <a:p>
            <a:endParaRPr lang="nb-NO" sz="110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14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10295" y="1114650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1205432"/>
            <a:ext cx="396697" cy="395531"/>
            <a:chOff x="5042" y="3019"/>
            <a:chExt cx="341" cy="340"/>
          </a:xfrm>
          <a:solidFill>
            <a:schemeClr val="accent2"/>
          </a:solidFill>
        </p:grpSpPr>
        <p:sp>
          <p:nvSpPr>
            <p:cNvPr id="16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Rektangel 7">
            <a:extLst>
              <a:ext uri="{FF2B5EF4-FFF2-40B4-BE49-F238E27FC236}">
                <a16:creationId xmlns:a16="http://schemas.microsoft.com/office/drawing/2014/main" id="{D0E16615-BF0B-464E-BF5F-31863CC7FBFE}"/>
              </a:ext>
            </a:extLst>
          </p:cNvPr>
          <p:cNvSpPr/>
          <p:nvPr/>
        </p:nvSpPr>
        <p:spPr>
          <a:xfrm>
            <a:off x="1039477" y="1784452"/>
            <a:ext cx="7520900" cy="121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</a:rPr>
              <a:t>Ny funksjonalitet: </a:t>
            </a:r>
          </a:p>
          <a:p>
            <a:r>
              <a:rPr lang="nb-NO" sz="1100">
                <a:solidFill>
                  <a:schemeClr val="tx1"/>
                </a:solidFill>
                <a:cs typeface="Arial"/>
              </a:rPr>
              <a:t>Ved varemottak etter innlest faktura, får man korrigert evt. avvik allerede i varemottaksøyeblikket, og oppnår dermed bedre match.</a:t>
            </a:r>
          </a:p>
          <a:p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Det kan oppleves som at man behandler mange flere faktura enn tidligere, fordi man ser et bilde av fakturaen i varemottaksbildet. </a:t>
            </a:r>
          </a:p>
          <a:p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Varemottak er ikke det samme som attestasjon av faktura, og h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vis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endringer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gjøres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i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varemottaket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som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krever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ny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attestasjon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/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godkjenning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så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går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fakturaen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en-US" sz="1100" err="1">
                <a:solidFill>
                  <a:schemeClr val="tx1"/>
                </a:solidFill>
                <a:ea typeface="+mn-lt"/>
                <a:cs typeface="+mn-lt"/>
              </a:rPr>
              <a:t>på</a:t>
            </a:r>
            <a:r>
              <a:rPr lang="en-US" sz="110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arbeidsflyt til innkjøpergruppen.</a:t>
            </a:r>
          </a:p>
        </p:txBody>
      </p:sp>
      <p:sp>
        <p:nvSpPr>
          <p:cNvPr id="22" name="Rektangel 24">
            <a:extLst>
              <a:ext uri="{FF2B5EF4-FFF2-40B4-BE49-F238E27FC236}">
                <a16:creationId xmlns:a16="http://schemas.microsoft.com/office/drawing/2014/main" id="{A31905A7-4353-4850-A871-198B73584ECC}"/>
              </a:ext>
            </a:extLst>
          </p:cNvPr>
          <p:cNvSpPr/>
          <p:nvPr/>
        </p:nvSpPr>
        <p:spPr>
          <a:xfrm>
            <a:off x="410295" y="1797521"/>
            <a:ext cx="545584" cy="12044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ktangel 7">
            <a:extLst>
              <a:ext uri="{FF2B5EF4-FFF2-40B4-BE49-F238E27FC236}">
                <a16:creationId xmlns:a16="http://schemas.microsoft.com/office/drawing/2014/main" id="{41E9B151-E721-48E4-84D7-6443808EC903}"/>
              </a:ext>
            </a:extLst>
          </p:cNvPr>
          <p:cNvSpPr/>
          <p:nvPr/>
        </p:nvSpPr>
        <p:spPr>
          <a:xfrm>
            <a:off x="1041774" y="3110404"/>
            <a:ext cx="7520901" cy="8013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>
                <a:solidFill>
                  <a:schemeClr val="tx1"/>
                </a:solidFill>
              </a:rPr>
              <a:t>Det skilles mellom tre typer faktura: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r>
              <a:rPr lang="nb-NO" sz="1100" b="1">
                <a:solidFill>
                  <a:schemeClr val="tx2"/>
                </a:solidFill>
              </a:rPr>
              <a:t>Innkjøpsfaktura: </a:t>
            </a:r>
            <a:r>
              <a:rPr lang="nb-NO" sz="1100">
                <a:solidFill>
                  <a:schemeClr val="tx1"/>
                </a:solidFill>
              </a:rPr>
              <a:t>Har et innkjøpsordrenummer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r>
              <a:rPr lang="nb-NO" sz="1100" b="1">
                <a:solidFill>
                  <a:schemeClr val="tx2"/>
                </a:solidFill>
                <a:ea typeface="+mn-lt"/>
                <a:cs typeface="+mn-lt"/>
              </a:rPr>
              <a:t>Leverandørfaktura: 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Har ikke et innkjøpsordrenummer</a:t>
            </a:r>
          </a:p>
          <a:p>
            <a:r>
              <a:rPr lang="nb-NO" sz="1100" b="1">
                <a:solidFill>
                  <a:schemeClr val="tx2"/>
                </a:solidFill>
                <a:ea typeface="+mn-lt"/>
                <a:cs typeface="+mn-lt"/>
              </a:rPr>
              <a:t>Periodisk faktura: 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Erstatter det vi til nå har kalt kontraktsmodul eller </a:t>
            </a:r>
            <a:r>
              <a:rPr lang="nb-NO" sz="1100" err="1">
                <a:solidFill>
                  <a:schemeClr val="tx1"/>
                </a:solidFill>
                <a:ea typeface="+mn-lt"/>
                <a:cs typeface="+mn-lt"/>
              </a:rPr>
              <a:t>Basware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 CM. </a:t>
            </a:r>
            <a:r>
              <a:rPr lang="nb-NO" sz="1100" b="1">
                <a:solidFill>
                  <a:schemeClr val="tx2"/>
                </a:solidFill>
                <a:ea typeface="+mn-lt"/>
                <a:cs typeface="+mn-lt"/>
              </a:rPr>
              <a:t>Alle innkjøpere 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vil få adgang til å registrere objekt for periodiske faktura.</a:t>
            </a:r>
            <a:endParaRPr lang="nb-NO" err="1">
              <a:solidFill>
                <a:schemeClr val="tx1"/>
              </a:solidFill>
              <a:cs typeface="Arial"/>
            </a:endParaRPr>
          </a:p>
        </p:txBody>
      </p:sp>
      <p:sp>
        <p:nvSpPr>
          <p:cNvPr id="26" name="Rektangel 24">
            <a:extLst>
              <a:ext uri="{FF2B5EF4-FFF2-40B4-BE49-F238E27FC236}">
                <a16:creationId xmlns:a16="http://schemas.microsoft.com/office/drawing/2014/main" id="{B98A0BFA-C405-4204-A609-2A8D08CFB051}"/>
              </a:ext>
            </a:extLst>
          </p:cNvPr>
          <p:cNvSpPr/>
          <p:nvPr/>
        </p:nvSpPr>
        <p:spPr>
          <a:xfrm>
            <a:off x="410295" y="3108928"/>
            <a:ext cx="545584" cy="8013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ktangel 7">
            <a:extLst>
              <a:ext uri="{FF2B5EF4-FFF2-40B4-BE49-F238E27FC236}">
                <a16:creationId xmlns:a16="http://schemas.microsoft.com/office/drawing/2014/main" id="{32415137-CE73-42D7-8992-21FDCCC29E97}"/>
              </a:ext>
            </a:extLst>
          </p:cNvPr>
          <p:cNvSpPr/>
          <p:nvPr/>
        </p:nvSpPr>
        <p:spPr>
          <a:xfrm>
            <a:off x="1039477" y="4049105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>
                <a:solidFill>
                  <a:schemeClr val="tx1"/>
                </a:solidFill>
              </a:rPr>
              <a:t>Vi må forholde oss til </a:t>
            </a:r>
            <a:r>
              <a:rPr lang="nb-NO" sz="1100" b="1" err="1">
                <a:solidFill>
                  <a:schemeClr val="tx2"/>
                </a:solidFill>
              </a:rPr>
              <a:t>mva</a:t>
            </a:r>
            <a:r>
              <a:rPr lang="nb-NO" sz="1100" b="1">
                <a:solidFill>
                  <a:schemeClr val="tx2"/>
                </a:solidFill>
              </a:rPr>
              <a:t>-koder på alle faktura, </a:t>
            </a:r>
            <a:r>
              <a:rPr lang="nb-NO" sz="1100">
                <a:solidFill>
                  <a:schemeClr val="tx1"/>
                </a:solidFill>
              </a:rPr>
              <a:t>ikke bare ved betaling til utlandet. </a:t>
            </a:r>
          </a:p>
        </p:txBody>
      </p:sp>
      <p:sp>
        <p:nvSpPr>
          <p:cNvPr id="30" name="Rektangel 24">
            <a:extLst>
              <a:ext uri="{FF2B5EF4-FFF2-40B4-BE49-F238E27FC236}">
                <a16:creationId xmlns:a16="http://schemas.microsoft.com/office/drawing/2014/main" id="{5785522D-EE48-4A66-B8D8-2CFF2D9062F0}"/>
              </a:ext>
            </a:extLst>
          </p:cNvPr>
          <p:cNvSpPr/>
          <p:nvPr/>
        </p:nvSpPr>
        <p:spPr>
          <a:xfrm>
            <a:off x="426031" y="4040952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3" name="Group 39">
            <a:extLst>
              <a:ext uri="{FF2B5EF4-FFF2-40B4-BE49-F238E27FC236}">
                <a16:creationId xmlns:a16="http://schemas.microsoft.com/office/drawing/2014/main" id="{E55F31BD-9747-4E51-96F0-6060C3CBD75E}"/>
              </a:ext>
            </a:extLst>
          </p:cNvPr>
          <p:cNvGrpSpPr>
            <a:grpSpLocks/>
          </p:cNvGrpSpPr>
          <p:nvPr/>
        </p:nvGrpSpPr>
        <p:grpSpPr bwMode="auto">
          <a:xfrm>
            <a:off x="484769" y="2201746"/>
            <a:ext cx="396000" cy="396000"/>
            <a:chOff x="3987" y="1509"/>
            <a:chExt cx="340" cy="340"/>
          </a:xfrm>
          <a:solidFill>
            <a:schemeClr val="tx2"/>
          </a:solidFill>
        </p:grpSpPr>
        <p:sp>
          <p:nvSpPr>
            <p:cNvPr id="24" name="Freeform 40">
              <a:extLst>
                <a:ext uri="{FF2B5EF4-FFF2-40B4-BE49-F238E27FC236}">
                  <a16:creationId xmlns:a16="http://schemas.microsoft.com/office/drawing/2014/main" id="{3C0FE68C-E2CD-4F2E-9C76-99EA88845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7" y="15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id="{D25A7180-D676-4C1C-A81E-42F92C939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3" y="1568"/>
              <a:ext cx="215" cy="214"/>
            </a:xfrm>
            <a:custGeom>
              <a:avLst/>
              <a:gdLst>
                <a:gd name="T0" fmla="*/ 168 w 324"/>
                <a:gd name="T1" fmla="*/ 177 h 322"/>
                <a:gd name="T2" fmla="*/ 123 w 324"/>
                <a:gd name="T3" fmla="*/ 143 h 322"/>
                <a:gd name="T4" fmla="*/ 65 w 324"/>
                <a:gd name="T5" fmla="*/ 142 h 322"/>
                <a:gd name="T6" fmla="*/ 18 w 324"/>
                <a:gd name="T7" fmla="*/ 175 h 322"/>
                <a:gd name="T8" fmla="*/ 0 w 324"/>
                <a:gd name="T9" fmla="*/ 229 h 322"/>
                <a:gd name="T10" fmla="*/ 17 w 324"/>
                <a:gd name="T11" fmla="*/ 284 h 322"/>
                <a:gd name="T12" fmla="*/ 63 w 324"/>
                <a:gd name="T13" fmla="*/ 319 h 322"/>
                <a:gd name="T14" fmla="*/ 115 w 324"/>
                <a:gd name="T15" fmla="*/ 320 h 322"/>
                <a:gd name="T16" fmla="*/ 145 w 324"/>
                <a:gd name="T17" fmla="*/ 294 h 322"/>
                <a:gd name="T18" fmla="*/ 172 w 324"/>
                <a:gd name="T19" fmla="*/ 252 h 322"/>
                <a:gd name="T20" fmla="*/ 146 w 324"/>
                <a:gd name="T21" fmla="*/ 249 h 322"/>
                <a:gd name="T22" fmla="*/ 125 w 324"/>
                <a:gd name="T23" fmla="*/ 277 h 322"/>
                <a:gd name="T24" fmla="*/ 92 w 324"/>
                <a:gd name="T25" fmla="*/ 284 h 322"/>
                <a:gd name="T26" fmla="*/ 69 w 324"/>
                <a:gd name="T27" fmla="*/ 293 h 322"/>
                <a:gd name="T28" fmla="*/ 37 w 324"/>
                <a:gd name="T29" fmla="*/ 267 h 322"/>
                <a:gd name="T30" fmla="*/ 26 w 324"/>
                <a:gd name="T31" fmla="*/ 227 h 322"/>
                <a:gd name="T32" fmla="*/ 41 w 324"/>
                <a:gd name="T33" fmla="*/ 189 h 322"/>
                <a:gd name="T34" fmla="*/ 76 w 324"/>
                <a:gd name="T35" fmla="*/ 168 h 322"/>
                <a:gd name="T36" fmla="*/ 115 w 324"/>
                <a:gd name="T37" fmla="*/ 164 h 322"/>
                <a:gd name="T38" fmla="*/ 150 w 324"/>
                <a:gd name="T39" fmla="*/ 190 h 322"/>
                <a:gd name="T40" fmla="*/ 163 w 324"/>
                <a:gd name="T41" fmla="*/ 232 h 322"/>
                <a:gd name="T42" fmla="*/ 61 w 324"/>
                <a:gd name="T43" fmla="*/ 214 h 322"/>
                <a:gd name="T44" fmla="*/ 103 w 324"/>
                <a:gd name="T45" fmla="*/ 265 h 322"/>
                <a:gd name="T46" fmla="*/ 105 w 324"/>
                <a:gd name="T47" fmla="*/ 237 h 322"/>
                <a:gd name="T48" fmla="*/ 80 w 324"/>
                <a:gd name="T49" fmla="*/ 224 h 322"/>
                <a:gd name="T50" fmla="*/ 106 w 324"/>
                <a:gd name="T51" fmla="*/ 226 h 322"/>
                <a:gd name="T52" fmla="*/ 308 w 324"/>
                <a:gd name="T53" fmla="*/ 62 h 322"/>
                <a:gd name="T54" fmla="*/ 276 w 324"/>
                <a:gd name="T55" fmla="*/ 23 h 322"/>
                <a:gd name="T56" fmla="*/ 227 w 324"/>
                <a:gd name="T57" fmla="*/ 10 h 322"/>
                <a:gd name="T58" fmla="*/ 180 w 324"/>
                <a:gd name="T59" fmla="*/ 29 h 322"/>
                <a:gd name="T60" fmla="*/ 152 w 324"/>
                <a:gd name="T61" fmla="*/ 71 h 322"/>
                <a:gd name="T62" fmla="*/ 155 w 324"/>
                <a:gd name="T63" fmla="*/ 122 h 322"/>
                <a:gd name="T64" fmla="*/ 187 w 324"/>
                <a:gd name="T65" fmla="*/ 161 h 322"/>
                <a:gd name="T66" fmla="*/ 236 w 324"/>
                <a:gd name="T67" fmla="*/ 174 h 322"/>
                <a:gd name="T68" fmla="*/ 276 w 324"/>
                <a:gd name="T69" fmla="*/ 156 h 322"/>
                <a:gd name="T70" fmla="*/ 305 w 324"/>
                <a:gd name="T71" fmla="*/ 117 h 322"/>
                <a:gd name="T72" fmla="*/ 298 w 324"/>
                <a:gd name="T73" fmla="*/ 96 h 322"/>
                <a:gd name="T74" fmla="*/ 283 w 324"/>
                <a:gd name="T75" fmla="*/ 134 h 322"/>
                <a:gd name="T76" fmla="*/ 248 w 324"/>
                <a:gd name="T77" fmla="*/ 155 h 322"/>
                <a:gd name="T78" fmla="*/ 209 w 324"/>
                <a:gd name="T79" fmla="*/ 158 h 322"/>
                <a:gd name="T80" fmla="*/ 174 w 324"/>
                <a:gd name="T81" fmla="*/ 132 h 322"/>
                <a:gd name="T82" fmla="*/ 161 w 324"/>
                <a:gd name="T83" fmla="*/ 91 h 322"/>
                <a:gd name="T84" fmla="*/ 175 w 324"/>
                <a:gd name="T85" fmla="*/ 50 h 322"/>
                <a:gd name="T86" fmla="*/ 211 w 324"/>
                <a:gd name="T87" fmla="*/ 26 h 322"/>
                <a:gd name="T88" fmla="*/ 250 w 324"/>
                <a:gd name="T89" fmla="*/ 30 h 322"/>
                <a:gd name="T90" fmla="*/ 284 w 324"/>
                <a:gd name="T91" fmla="*/ 51 h 322"/>
                <a:gd name="T92" fmla="*/ 298 w 324"/>
                <a:gd name="T93" fmla="*/ 90 h 322"/>
                <a:gd name="T94" fmla="*/ 221 w 324"/>
                <a:gd name="T95" fmla="*/ 58 h 322"/>
                <a:gd name="T96" fmla="*/ 231 w 324"/>
                <a:gd name="T97" fmla="*/ 128 h 322"/>
                <a:gd name="T98" fmla="*/ 248 w 324"/>
                <a:gd name="T99" fmla="*/ 61 h 322"/>
                <a:gd name="T100" fmla="*/ 218 w 324"/>
                <a:gd name="T101" fmla="*/ 96 h 322"/>
                <a:gd name="T102" fmla="*/ 238 w 324"/>
                <a:gd name="T103" fmla="*/ 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4" h="322">
                  <a:moveTo>
                    <a:pt x="172" y="212"/>
                  </a:moveTo>
                  <a:cubicBezTo>
                    <a:pt x="171" y="211"/>
                    <a:pt x="168" y="209"/>
                    <a:pt x="167" y="208"/>
                  </a:cubicBezTo>
                  <a:cubicBezTo>
                    <a:pt x="167" y="206"/>
                    <a:pt x="168" y="203"/>
                    <a:pt x="169" y="201"/>
                  </a:cubicBezTo>
                  <a:cubicBezTo>
                    <a:pt x="171" y="194"/>
                    <a:pt x="174" y="185"/>
                    <a:pt x="168" y="177"/>
                  </a:cubicBezTo>
                  <a:cubicBezTo>
                    <a:pt x="163" y="169"/>
                    <a:pt x="153" y="169"/>
                    <a:pt x="146" y="169"/>
                  </a:cubicBezTo>
                  <a:cubicBezTo>
                    <a:pt x="144" y="169"/>
                    <a:pt x="141" y="168"/>
                    <a:pt x="139" y="168"/>
                  </a:cubicBezTo>
                  <a:cubicBezTo>
                    <a:pt x="139" y="167"/>
                    <a:pt x="138" y="164"/>
                    <a:pt x="137" y="162"/>
                  </a:cubicBezTo>
                  <a:cubicBezTo>
                    <a:pt x="135" y="155"/>
                    <a:pt x="132" y="146"/>
                    <a:pt x="123" y="143"/>
                  </a:cubicBezTo>
                  <a:cubicBezTo>
                    <a:pt x="114" y="140"/>
                    <a:pt x="105" y="145"/>
                    <a:pt x="100" y="149"/>
                  </a:cubicBezTo>
                  <a:cubicBezTo>
                    <a:pt x="98" y="150"/>
                    <a:pt x="95" y="152"/>
                    <a:pt x="94" y="153"/>
                  </a:cubicBezTo>
                  <a:cubicBezTo>
                    <a:pt x="92" y="152"/>
                    <a:pt x="90" y="150"/>
                    <a:pt x="88" y="149"/>
                  </a:cubicBezTo>
                  <a:cubicBezTo>
                    <a:pt x="83" y="145"/>
                    <a:pt x="74" y="139"/>
                    <a:pt x="65" y="142"/>
                  </a:cubicBezTo>
                  <a:cubicBezTo>
                    <a:pt x="56" y="145"/>
                    <a:pt x="53" y="154"/>
                    <a:pt x="50" y="161"/>
                  </a:cubicBezTo>
                  <a:cubicBezTo>
                    <a:pt x="49" y="163"/>
                    <a:pt x="48" y="166"/>
                    <a:pt x="48" y="167"/>
                  </a:cubicBezTo>
                  <a:cubicBezTo>
                    <a:pt x="46" y="167"/>
                    <a:pt x="43" y="167"/>
                    <a:pt x="41" y="167"/>
                  </a:cubicBezTo>
                  <a:cubicBezTo>
                    <a:pt x="34" y="167"/>
                    <a:pt x="24" y="168"/>
                    <a:pt x="18" y="175"/>
                  </a:cubicBezTo>
                  <a:cubicBezTo>
                    <a:pt x="13" y="183"/>
                    <a:pt x="15" y="192"/>
                    <a:pt x="17" y="199"/>
                  </a:cubicBezTo>
                  <a:cubicBezTo>
                    <a:pt x="18" y="201"/>
                    <a:pt x="19" y="204"/>
                    <a:pt x="19" y="206"/>
                  </a:cubicBezTo>
                  <a:cubicBezTo>
                    <a:pt x="18" y="207"/>
                    <a:pt x="15" y="209"/>
                    <a:pt x="14" y="210"/>
                  </a:cubicBezTo>
                  <a:cubicBezTo>
                    <a:pt x="8" y="214"/>
                    <a:pt x="0" y="220"/>
                    <a:pt x="0" y="229"/>
                  </a:cubicBezTo>
                  <a:cubicBezTo>
                    <a:pt x="0" y="239"/>
                    <a:pt x="7" y="245"/>
                    <a:pt x="13" y="249"/>
                  </a:cubicBezTo>
                  <a:cubicBezTo>
                    <a:pt x="15" y="251"/>
                    <a:pt x="18" y="253"/>
                    <a:pt x="18" y="253"/>
                  </a:cubicBezTo>
                  <a:cubicBezTo>
                    <a:pt x="18" y="255"/>
                    <a:pt x="17" y="258"/>
                    <a:pt x="16" y="261"/>
                  </a:cubicBezTo>
                  <a:cubicBezTo>
                    <a:pt x="14" y="268"/>
                    <a:pt x="11" y="277"/>
                    <a:pt x="17" y="284"/>
                  </a:cubicBezTo>
                  <a:cubicBezTo>
                    <a:pt x="22" y="292"/>
                    <a:pt x="32" y="292"/>
                    <a:pt x="39" y="293"/>
                  </a:cubicBezTo>
                  <a:cubicBezTo>
                    <a:pt x="41" y="293"/>
                    <a:pt x="44" y="293"/>
                    <a:pt x="46" y="293"/>
                  </a:cubicBezTo>
                  <a:cubicBezTo>
                    <a:pt x="47" y="295"/>
                    <a:pt x="48" y="298"/>
                    <a:pt x="48" y="299"/>
                  </a:cubicBezTo>
                  <a:cubicBezTo>
                    <a:pt x="51" y="306"/>
                    <a:pt x="54" y="315"/>
                    <a:pt x="63" y="319"/>
                  </a:cubicBezTo>
                  <a:cubicBezTo>
                    <a:pt x="72" y="322"/>
                    <a:pt x="80" y="316"/>
                    <a:pt x="86" y="312"/>
                  </a:cubicBezTo>
                  <a:cubicBezTo>
                    <a:pt x="87" y="311"/>
                    <a:pt x="90" y="309"/>
                    <a:pt x="92" y="309"/>
                  </a:cubicBezTo>
                  <a:cubicBezTo>
                    <a:pt x="93" y="309"/>
                    <a:pt x="95" y="311"/>
                    <a:pt x="97" y="312"/>
                  </a:cubicBezTo>
                  <a:cubicBezTo>
                    <a:pt x="102" y="316"/>
                    <a:pt x="108" y="320"/>
                    <a:pt x="115" y="320"/>
                  </a:cubicBezTo>
                  <a:cubicBezTo>
                    <a:pt x="117" y="320"/>
                    <a:pt x="118" y="320"/>
                    <a:pt x="120" y="319"/>
                  </a:cubicBezTo>
                  <a:cubicBezTo>
                    <a:pt x="129" y="316"/>
                    <a:pt x="133" y="307"/>
                    <a:pt x="135" y="300"/>
                  </a:cubicBezTo>
                  <a:cubicBezTo>
                    <a:pt x="136" y="298"/>
                    <a:pt x="137" y="296"/>
                    <a:pt x="138" y="294"/>
                  </a:cubicBezTo>
                  <a:cubicBezTo>
                    <a:pt x="139" y="294"/>
                    <a:pt x="142" y="294"/>
                    <a:pt x="145" y="294"/>
                  </a:cubicBezTo>
                  <a:cubicBezTo>
                    <a:pt x="152" y="294"/>
                    <a:pt x="161" y="294"/>
                    <a:pt x="167" y="286"/>
                  </a:cubicBezTo>
                  <a:cubicBezTo>
                    <a:pt x="173" y="279"/>
                    <a:pt x="170" y="269"/>
                    <a:pt x="168" y="262"/>
                  </a:cubicBezTo>
                  <a:cubicBezTo>
                    <a:pt x="168" y="260"/>
                    <a:pt x="167" y="257"/>
                    <a:pt x="167" y="256"/>
                  </a:cubicBezTo>
                  <a:cubicBezTo>
                    <a:pt x="168" y="255"/>
                    <a:pt x="170" y="253"/>
                    <a:pt x="172" y="252"/>
                  </a:cubicBezTo>
                  <a:cubicBezTo>
                    <a:pt x="177" y="247"/>
                    <a:pt x="185" y="242"/>
                    <a:pt x="185" y="232"/>
                  </a:cubicBezTo>
                  <a:cubicBezTo>
                    <a:pt x="186" y="223"/>
                    <a:pt x="178" y="217"/>
                    <a:pt x="172" y="212"/>
                  </a:cubicBezTo>
                  <a:close/>
                  <a:moveTo>
                    <a:pt x="159" y="235"/>
                  </a:moveTo>
                  <a:cubicBezTo>
                    <a:pt x="154" y="238"/>
                    <a:pt x="148" y="242"/>
                    <a:pt x="146" y="249"/>
                  </a:cubicBezTo>
                  <a:cubicBezTo>
                    <a:pt x="144" y="255"/>
                    <a:pt x="146" y="262"/>
                    <a:pt x="148" y="268"/>
                  </a:cubicBezTo>
                  <a:cubicBezTo>
                    <a:pt x="148" y="269"/>
                    <a:pt x="148" y="271"/>
                    <a:pt x="149" y="272"/>
                  </a:cubicBezTo>
                  <a:cubicBezTo>
                    <a:pt x="147" y="273"/>
                    <a:pt x="145" y="273"/>
                    <a:pt x="144" y="273"/>
                  </a:cubicBezTo>
                  <a:cubicBezTo>
                    <a:pt x="138" y="273"/>
                    <a:pt x="131" y="273"/>
                    <a:pt x="125" y="277"/>
                  </a:cubicBezTo>
                  <a:cubicBezTo>
                    <a:pt x="120" y="281"/>
                    <a:pt x="117" y="287"/>
                    <a:pt x="115" y="293"/>
                  </a:cubicBezTo>
                  <a:cubicBezTo>
                    <a:pt x="115" y="294"/>
                    <a:pt x="114" y="295"/>
                    <a:pt x="113" y="297"/>
                  </a:cubicBezTo>
                  <a:cubicBezTo>
                    <a:pt x="112" y="296"/>
                    <a:pt x="110" y="294"/>
                    <a:pt x="109" y="293"/>
                  </a:cubicBezTo>
                  <a:cubicBezTo>
                    <a:pt x="104" y="290"/>
                    <a:pt x="99" y="284"/>
                    <a:pt x="92" y="284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5" y="284"/>
                    <a:pt x="79" y="289"/>
                    <a:pt x="74" y="293"/>
                  </a:cubicBezTo>
                  <a:cubicBezTo>
                    <a:pt x="73" y="294"/>
                    <a:pt x="71" y="296"/>
                    <a:pt x="70" y="297"/>
                  </a:cubicBezTo>
                  <a:cubicBezTo>
                    <a:pt x="70" y="296"/>
                    <a:pt x="69" y="294"/>
                    <a:pt x="69" y="293"/>
                  </a:cubicBezTo>
                  <a:cubicBezTo>
                    <a:pt x="67" y="287"/>
                    <a:pt x="64" y="280"/>
                    <a:pt x="59" y="276"/>
                  </a:cubicBezTo>
                  <a:cubicBezTo>
                    <a:pt x="53" y="272"/>
                    <a:pt x="46" y="272"/>
                    <a:pt x="40" y="271"/>
                  </a:cubicBezTo>
                  <a:cubicBezTo>
                    <a:pt x="39" y="271"/>
                    <a:pt x="37" y="271"/>
                    <a:pt x="36" y="271"/>
                  </a:cubicBezTo>
                  <a:cubicBezTo>
                    <a:pt x="36" y="270"/>
                    <a:pt x="36" y="268"/>
                    <a:pt x="37" y="267"/>
                  </a:cubicBezTo>
                  <a:cubicBezTo>
                    <a:pt x="39" y="261"/>
                    <a:pt x="41" y="254"/>
                    <a:pt x="39" y="247"/>
                  </a:cubicBezTo>
                  <a:cubicBezTo>
                    <a:pt x="37" y="241"/>
                    <a:pt x="31" y="236"/>
                    <a:pt x="26" y="232"/>
                  </a:cubicBezTo>
                  <a:cubicBezTo>
                    <a:pt x="25" y="232"/>
                    <a:pt x="24" y="231"/>
                    <a:pt x="23" y="230"/>
                  </a:cubicBezTo>
                  <a:cubicBezTo>
                    <a:pt x="24" y="229"/>
                    <a:pt x="25" y="228"/>
                    <a:pt x="26" y="227"/>
                  </a:cubicBezTo>
                  <a:cubicBezTo>
                    <a:pt x="31" y="223"/>
                    <a:pt x="37" y="219"/>
                    <a:pt x="39" y="213"/>
                  </a:cubicBezTo>
                  <a:cubicBezTo>
                    <a:pt x="41" y="206"/>
                    <a:pt x="39" y="199"/>
                    <a:pt x="38" y="193"/>
                  </a:cubicBezTo>
                  <a:cubicBezTo>
                    <a:pt x="37" y="192"/>
                    <a:pt x="37" y="190"/>
                    <a:pt x="37" y="189"/>
                  </a:cubicBezTo>
                  <a:cubicBezTo>
                    <a:pt x="38" y="189"/>
                    <a:pt x="40" y="189"/>
                    <a:pt x="41" y="189"/>
                  </a:cubicBezTo>
                  <a:cubicBezTo>
                    <a:pt x="47" y="189"/>
                    <a:pt x="54" y="189"/>
                    <a:pt x="60" y="185"/>
                  </a:cubicBezTo>
                  <a:cubicBezTo>
                    <a:pt x="66" y="181"/>
                    <a:pt x="68" y="174"/>
                    <a:pt x="70" y="169"/>
                  </a:cubicBezTo>
                  <a:cubicBezTo>
                    <a:pt x="71" y="167"/>
                    <a:pt x="71" y="166"/>
                    <a:pt x="72" y="164"/>
                  </a:cubicBezTo>
                  <a:cubicBezTo>
                    <a:pt x="73" y="165"/>
                    <a:pt x="75" y="167"/>
                    <a:pt x="76" y="168"/>
                  </a:cubicBezTo>
                  <a:cubicBezTo>
                    <a:pt x="81" y="172"/>
                    <a:pt x="87" y="177"/>
                    <a:pt x="93" y="177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101" y="177"/>
                    <a:pt x="106" y="172"/>
                    <a:pt x="111" y="168"/>
                  </a:cubicBezTo>
                  <a:cubicBezTo>
                    <a:pt x="112" y="168"/>
                    <a:pt x="114" y="165"/>
                    <a:pt x="115" y="164"/>
                  </a:cubicBezTo>
                  <a:cubicBezTo>
                    <a:pt x="116" y="166"/>
                    <a:pt x="116" y="168"/>
                    <a:pt x="117" y="169"/>
                  </a:cubicBezTo>
                  <a:cubicBezTo>
                    <a:pt x="119" y="175"/>
                    <a:pt x="121" y="181"/>
                    <a:pt x="127" y="185"/>
                  </a:cubicBezTo>
                  <a:cubicBezTo>
                    <a:pt x="132" y="189"/>
                    <a:pt x="139" y="190"/>
                    <a:pt x="145" y="190"/>
                  </a:cubicBezTo>
                  <a:cubicBezTo>
                    <a:pt x="146" y="190"/>
                    <a:pt x="148" y="190"/>
                    <a:pt x="150" y="190"/>
                  </a:cubicBezTo>
                  <a:cubicBezTo>
                    <a:pt x="149" y="192"/>
                    <a:pt x="149" y="193"/>
                    <a:pt x="149" y="194"/>
                  </a:cubicBezTo>
                  <a:cubicBezTo>
                    <a:pt x="147" y="200"/>
                    <a:pt x="145" y="207"/>
                    <a:pt x="147" y="214"/>
                  </a:cubicBezTo>
                  <a:cubicBezTo>
                    <a:pt x="149" y="221"/>
                    <a:pt x="154" y="225"/>
                    <a:pt x="159" y="229"/>
                  </a:cubicBezTo>
                  <a:cubicBezTo>
                    <a:pt x="160" y="230"/>
                    <a:pt x="162" y="231"/>
                    <a:pt x="163" y="232"/>
                  </a:cubicBezTo>
                  <a:cubicBezTo>
                    <a:pt x="161" y="233"/>
                    <a:pt x="160" y="234"/>
                    <a:pt x="159" y="235"/>
                  </a:cubicBezTo>
                  <a:close/>
                  <a:moveTo>
                    <a:pt x="109" y="199"/>
                  </a:moveTo>
                  <a:cubicBezTo>
                    <a:pt x="101" y="195"/>
                    <a:pt x="91" y="194"/>
                    <a:pt x="82" y="197"/>
                  </a:cubicBezTo>
                  <a:cubicBezTo>
                    <a:pt x="73" y="200"/>
                    <a:pt x="66" y="206"/>
                    <a:pt x="61" y="214"/>
                  </a:cubicBezTo>
                  <a:cubicBezTo>
                    <a:pt x="57" y="223"/>
                    <a:pt x="56" y="232"/>
                    <a:pt x="59" y="241"/>
                  </a:cubicBezTo>
                  <a:cubicBezTo>
                    <a:pt x="62" y="250"/>
                    <a:pt x="68" y="258"/>
                    <a:pt x="76" y="262"/>
                  </a:cubicBezTo>
                  <a:cubicBezTo>
                    <a:pt x="81" y="265"/>
                    <a:pt x="87" y="266"/>
                    <a:pt x="93" y="266"/>
                  </a:cubicBezTo>
                  <a:cubicBezTo>
                    <a:pt x="96" y="266"/>
                    <a:pt x="100" y="266"/>
                    <a:pt x="103" y="265"/>
                  </a:cubicBezTo>
                  <a:cubicBezTo>
                    <a:pt x="112" y="262"/>
                    <a:pt x="120" y="256"/>
                    <a:pt x="124" y="247"/>
                  </a:cubicBezTo>
                  <a:cubicBezTo>
                    <a:pt x="129" y="239"/>
                    <a:pt x="129" y="229"/>
                    <a:pt x="127" y="220"/>
                  </a:cubicBezTo>
                  <a:cubicBezTo>
                    <a:pt x="124" y="211"/>
                    <a:pt x="118" y="204"/>
                    <a:pt x="109" y="199"/>
                  </a:cubicBezTo>
                  <a:close/>
                  <a:moveTo>
                    <a:pt x="105" y="237"/>
                  </a:moveTo>
                  <a:cubicBezTo>
                    <a:pt x="103" y="241"/>
                    <a:pt x="101" y="243"/>
                    <a:pt x="97" y="244"/>
                  </a:cubicBezTo>
                  <a:cubicBezTo>
                    <a:pt x="93" y="245"/>
                    <a:pt x="89" y="245"/>
                    <a:pt x="86" y="243"/>
                  </a:cubicBezTo>
                  <a:cubicBezTo>
                    <a:pt x="83" y="241"/>
                    <a:pt x="80" y="239"/>
                    <a:pt x="79" y="235"/>
                  </a:cubicBezTo>
                  <a:cubicBezTo>
                    <a:pt x="78" y="231"/>
                    <a:pt x="78" y="227"/>
                    <a:pt x="80" y="224"/>
                  </a:cubicBezTo>
                  <a:cubicBezTo>
                    <a:pt x="82" y="221"/>
                    <a:pt x="85" y="218"/>
                    <a:pt x="88" y="217"/>
                  </a:cubicBezTo>
                  <a:cubicBezTo>
                    <a:pt x="90" y="217"/>
                    <a:pt x="91" y="216"/>
                    <a:pt x="93" y="216"/>
                  </a:cubicBezTo>
                  <a:cubicBezTo>
                    <a:pt x="95" y="216"/>
                    <a:pt x="97" y="217"/>
                    <a:pt x="99" y="218"/>
                  </a:cubicBezTo>
                  <a:cubicBezTo>
                    <a:pt x="103" y="220"/>
                    <a:pt x="105" y="223"/>
                    <a:pt x="106" y="226"/>
                  </a:cubicBezTo>
                  <a:cubicBezTo>
                    <a:pt x="107" y="230"/>
                    <a:pt x="107" y="234"/>
                    <a:pt x="105" y="237"/>
                  </a:cubicBezTo>
                  <a:close/>
                  <a:moveTo>
                    <a:pt x="311" y="74"/>
                  </a:moveTo>
                  <a:cubicBezTo>
                    <a:pt x="309" y="72"/>
                    <a:pt x="307" y="70"/>
                    <a:pt x="306" y="69"/>
                  </a:cubicBezTo>
                  <a:cubicBezTo>
                    <a:pt x="306" y="67"/>
                    <a:pt x="307" y="64"/>
                    <a:pt x="308" y="62"/>
                  </a:cubicBezTo>
                  <a:cubicBezTo>
                    <a:pt x="310" y="55"/>
                    <a:pt x="313" y="46"/>
                    <a:pt x="307" y="38"/>
                  </a:cubicBezTo>
                  <a:cubicBezTo>
                    <a:pt x="302" y="31"/>
                    <a:pt x="292" y="30"/>
                    <a:pt x="285" y="30"/>
                  </a:cubicBezTo>
                  <a:cubicBezTo>
                    <a:pt x="283" y="30"/>
                    <a:pt x="280" y="30"/>
                    <a:pt x="278" y="29"/>
                  </a:cubicBezTo>
                  <a:cubicBezTo>
                    <a:pt x="277" y="28"/>
                    <a:pt x="276" y="25"/>
                    <a:pt x="276" y="23"/>
                  </a:cubicBezTo>
                  <a:cubicBezTo>
                    <a:pt x="273" y="16"/>
                    <a:pt x="270" y="7"/>
                    <a:pt x="261" y="4"/>
                  </a:cubicBezTo>
                  <a:cubicBezTo>
                    <a:pt x="252" y="1"/>
                    <a:pt x="244" y="6"/>
                    <a:pt x="238" y="10"/>
                  </a:cubicBezTo>
                  <a:cubicBezTo>
                    <a:pt x="237" y="12"/>
                    <a:pt x="234" y="13"/>
                    <a:pt x="232" y="14"/>
                  </a:cubicBezTo>
                  <a:cubicBezTo>
                    <a:pt x="231" y="13"/>
                    <a:pt x="229" y="12"/>
                    <a:pt x="227" y="10"/>
                  </a:cubicBezTo>
                  <a:cubicBezTo>
                    <a:pt x="221" y="6"/>
                    <a:pt x="213" y="0"/>
                    <a:pt x="204" y="3"/>
                  </a:cubicBezTo>
                  <a:cubicBezTo>
                    <a:pt x="195" y="6"/>
                    <a:pt x="191" y="16"/>
                    <a:pt x="189" y="22"/>
                  </a:cubicBezTo>
                  <a:cubicBezTo>
                    <a:pt x="188" y="24"/>
                    <a:pt x="187" y="27"/>
                    <a:pt x="186" y="28"/>
                  </a:cubicBezTo>
                  <a:cubicBezTo>
                    <a:pt x="185" y="29"/>
                    <a:pt x="182" y="29"/>
                    <a:pt x="180" y="29"/>
                  </a:cubicBezTo>
                  <a:cubicBezTo>
                    <a:pt x="172" y="29"/>
                    <a:pt x="163" y="29"/>
                    <a:pt x="157" y="36"/>
                  </a:cubicBezTo>
                  <a:cubicBezTo>
                    <a:pt x="151" y="44"/>
                    <a:pt x="154" y="53"/>
                    <a:pt x="156" y="60"/>
                  </a:cubicBezTo>
                  <a:cubicBezTo>
                    <a:pt x="156" y="62"/>
                    <a:pt x="157" y="65"/>
                    <a:pt x="157" y="67"/>
                  </a:cubicBezTo>
                  <a:cubicBezTo>
                    <a:pt x="156" y="68"/>
                    <a:pt x="154" y="70"/>
                    <a:pt x="152" y="71"/>
                  </a:cubicBezTo>
                  <a:cubicBezTo>
                    <a:pt x="147" y="75"/>
                    <a:pt x="139" y="81"/>
                    <a:pt x="139" y="91"/>
                  </a:cubicBezTo>
                  <a:cubicBezTo>
                    <a:pt x="138" y="100"/>
                    <a:pt x="146" y="106"/>
                    <a:pt x="152" y="110"/>
                  </a:cubicBezTo>
                  <a:cubicBezTo>
                    <a:pt x="153" y="112"/>
                    <a:pt x="156" y="114"/>
                    <a:pt x="157" y="115"/>
                  </a:cubicBezTo>
                  <a:cubicBezTo>
                    <a:pt x="157" y="116"/>
                    <a:pt x="156" y="120"/>
                    <a:pt x="155" y="122"/>
                  </a:cubicBezTo>
                  <a:cubicBezTo>
                    <a:pt x="153" y="129"/>
                    <a:pt x="150" y="138"/>
                    <a:pt x="156" y="146"/>
                  </a:cubicBezTo>
                  <a:cubicBezTo>
                    <a:pt x="161" y="153"/>
                    <a:pt x="171" y="154"/>
                    <a:pt x="178" y="154"/>
                  </a:cubicBezTo>
                  <a:cubicBezTo>
                    <a:pt x="180" y="154"/>
                    <a:pt x="183" y="154"/>
                    <a:pt x="185" y="155"/>
                  </a:cubicBezTo>
                  <a:cubicBezTo>
                    <a:pt x="185" y="156"/>
                    <a:pt x="186" y="159"/>
                    <a:pt x="187" y="161"/>
                  </a:cubicBezTo>
                  <a:cubicBezTo>
                    <a:pt x="189" y="168"/>
                    <a:pt x="192" y="177"/>
                    <a:pt x="201" y="180"/>
                  </a:cubicBezTo>
                  <a:cubicBezTo>
                    <a:pt x="210" y="183"/>
                    <a:pt x="218" y="178"/>
                    <a:pt x="224" y="174"/>
                  </a:cubicBezTo>
                  <a:cubicBezTo>
                    <a:pt x="226" y="172"/>
                    <a:pt x="229" y="171"/>
                    <a:pt x="230" y="170"/>
                  </a:cubicBezTo>
                  <a:cubicBezTo>
                    <a:pt x="232" y="171"/>
                    <a:pt x="234" y="172"/>
                    <a:pt x="236" y="174"/>
                  </a:cubicBezTo>
                  <a:cubicBezTo>
                    <a:pt x="240" y="177"/>
                    <a:pt x="247" y="181"/>
                    <a:pt x="254" y="181"/>
                  </a:cubicBezTo>
                  <a:cubicBezTo>
                    <a:pt x="255" y="181"/>
                    <a:pt x="257" y="181"/>
                    <a:pt x="259" y="181"/>
                  </a:cubicBezTo>
                  <a:cubicBezTo>
                    <a:pt x="268" y="178"/>
                    <a:pt x="271" y="168"/>
                    <a:pt x="274" y="162"/>
                  </a:cubicBezTo>
                  <a:cubicBezTo>
                    <a:pt x="275" y="160"/>
                    <a:pt x="276" y="157"/>
                    <a:pt x="276" y="156"/>
                  </a:cubicBezTo>
                  <a:cubicBezTo>
                    <a:pt x="278" y="155"/>
                    <a:pt x="281" y="155"/>
                    <a:pt x="283" y="155"/>
                  </a:cubicBezTo>
                  <a:cubicBezTo>
                    <a:pt x="290" y="155"/>
                    <a:pt x="300" y="155"/>
                    <a:pt x="306" y="148"/>
                  </a:cubicBezTo>
                  <a:cubicBezTo>
                    <a:pt x="311" y="140"/>
                    <a:pt x="309" y="131"/>
                    <a:pt x="307" y="124"/>
                  </a:cubicBezTo>
                  <a:cubicBezTo>
                    <a:pt x="306" y="122"/>
                    <a:pt x="305" y="119"/>
                    <a:pt x="305" y="117"/>
                  </a:cubicBezTo>
                  <a:cubicBezTo>
                    <a:pt x="306" y="116"/>
                    <a:pt x="309" y="114"/>
                    <a:pt x="310" y="113"/>
                  </a:cubicBezTo>
                  <a:cubicBezTo>
                    <a:pt x="316" y="109"/>
                    <a:pt x="324" y="103"/>
                    <a:pt x="324" y="93"/>
                  </a:cubicBezTo>
                  <a:cubicBezTo>
                    <a:pt x="324" y="84"/>
                    <a:pt x="317" y="78"/>
                    <a:pt x="311" y="74"/>
                  </a:cubicBezTo>
                  <a:close/>
                  <a:moveTo>
                    <a:pt x="298" y="96"/>
                  </a:moveTo>
                  <a:cubicBezTo>
                    <a:pt x="293" y="100"/>
                    <a:pt x="287" y="104"/>
                    <a:pt x="285" y="110"/>
                  </a:cubicBezTo>
                  <a:cubicBezTo>
                    <a:pt x="283" y="117"/>
                    <a:pt x="285" y="123"/>
                    <a:pt x="286" y="129"/>
                  </a:cubicBezTo>
                  <a:cubicBezTo>
                    <a:pt x="287" y="131"/>
                    <a:pt x="287" y="132"/>
                    <a:pt x="287" y="134"/>
                  </a:cubicBezTo>
                  <a:cubicBezTo>
                    <a:pt x="286" y="134"/>
                    <a:pt x="284" y="134"/>
                    <a:pt x="283" y="134"/>
                  </a:cubicBezTo>
                  <a:cubicBezTo>
                    <a:pt x="277" y="134"/>
                    <a:pt x="270" y="134"/>
                    <a:pt x="264" y="138"/>
                  </a:cubicBezTo>
                  <a:cubicBezTo>
                    <a:pt x="258" y="142"/>
                    <a:pt x="256" y="148"/>
                    <a:pt x="254" y="154"/>
                  </a:cubicBezTo>
                  <a:cubicBezTo>
                    <a:pt x="253" y="155"/>
                    <a:pt x="253" y="157"/>
                    <a:pt x="252" y="158"/>
                  </a:cubicBezTo>
                  <a:cubicBezTo>
                    <a:pt x="251" y="157"/>
                    <a:pt x="249" y="155"/>
                    <a:pt x="248" y="155"/>
                  </a:cubicBezTo>
                  <a:cubicBezTo>
                    <a:pt x="243" y="151"/>
                    <a:pt x="237" y="145"/>
                    <a:pt x="231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23" y="145"/>
                    <a:pt x="218" y="151"/>
                    <a:pt x="213" y="154"/>
                  </a:cubicBezTo>
                  <a:cubicBezTo>
                    <a:pt x="212" y="155"/>
                    <a:pt x="210" y="157"/>
                    <a:pt x="209" y="158"/>
                  </a:cubicBezTo>
                  <a:cubicBezTo>
                    <a:pt x="208" y="157"/>
                    <a:pt x="208" y="155"/>
                    <a:pt x="207" y="154"/>
                  </a:cubicBezTo>
                  <a:cubicBezTo>
                    <a:pt x="205" y="148"/>
                    <a:pt x="203" y="141"/>
                    <a:pt x="197" y="137"/>
                  </a:cubicBezTo>
                  <a:cubicBezTo>
                    <a:pt x="192" y="133"/>
                    <a:pt x="185" y="133"/>
                    <a:pt x="179" y="133"/>
                  </a:cubicBezTo>
                  <a:cubicBezTo>
                    <a:pt x="178" y="133"/>
                    <a:pt x="176" y="133"/>
                    <a:pt x="174" y="132"/>
                  </a:cubicBezTo>
                  <a:cubicBezTo>
                    <a:pt x="175" y="131"/>
                    <a:pt x="175" y="129"/>
                    <a:pt x="175" y="128"/>
                  </a:cubicBezTo>
                  <a:cubicBezTo>
                    <a:pt x="177" y="122"/>
                    <a:pt x="179" y="115"/>
                    <a:pt x="177" y="109"/>
                  </a:cubicBezTo>
                  <a:cubicBezTo>
                    <a:pt x="175" y="102"/>
                    <a:pt x="170" y="98"/>
                    <a:pt x="165" y="94"/>
                  </a:cubicBezTo>
                  <a:cubicBezTo>
                    <a:pt x="164" y="93"/>
                    <a:pt x="162" y="92"/>
                    <a:pt x="161" y="91"/>
                  </a:cubicBezTo>
                  <a:cubicBezTo>
                    <a:pt x="163" y="90"/>
                    <a:pt x="164" y="89"/>
                    <a:pt x="165" y="88"/>
                  </a:cubicBezTo>
                  <a:cubicBezTo>
                    <a:pt x="170" y="84"/>
                    <a:pt x="176" y="80"/>
                    <a:pt x="178" y="74"/>
                  </a:cubicBezTo>
                  <a:cubicBezTo>
                    <a:pt x="180" y="67"/>
                    <a:pt x="178" y="61"/>
                    <a:pt x="176" y="55"/>
                  </a:cubicBezTo>
                  <a:cubicBezTo>
                    <a:pt x="176" y="53"/>
                    <a:pt x="176" y="52"/>
                    <a:pt x="175" y="50"/>
                  </a:cubicBezTo>
                  <a:cubicBezTo>
                    <a:pt x="177" y="50"/>
                    <a:pt x="179" y="50"/>
                    <a:pt x="180" y="50"/>
                  </a:cubicBezTo>
                  <a:cubicBezTo>
                    <a:pt x="186" y="50"/>
                    <a:pt x="193" y="50"/>
                    <a:pt x="199" y="46"/>
                  </a:cubicBezTo>
                  <a:cubicBezTo>
                    <a:pt x="204" y="42"/>
                    <a:pt x="207" y="36"/>
                    <a:pt x="209" y="30"/>
                  </a:cubicBezTo>
                  <a:cubicBezTo>
                    <a:pt x="209" y="29"/>
                    <a:pt x="210" y="27"/>
                    <a:pt x="211" y="26"/>
                  </a:cubicBezTo>
                  <a:cubicBezTo>
                    <a:pt x="212" y="27"/>
                    <a:pt x="214" y="29"/>
                    <a:pt x="215" y="29"/>
                  </a:cubicBezTo>
                  <a:cubicBezTo>
                    <a:pt x="220" y="33"/>
                    <a:pt x="225" y="39"/>
                    <a:pt x="232" y="39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9" y="39"/>
                    <a:pt x="245" y="33"/>
                    <a:pt x="250" y="30"/>
                  </a:cubicBezTo>
                  <a:cubicBezTo>
                    <a:pt x="251" y="29"/>
                    <a:pt x="253" y="27"/>
                    <a:pt x="254" y="26"/>
                  </a:cubicBezTo>
                  <a:cubicBezTo>
                    <a:pt x="254" y="27"/>
                    <a:pt x="255" y="29"/>
                    <a:pt x="255" y="30"/>
                  </a:cubicBezTo>
                  <a:cubicBezTo>
                    <a:pt x="257" y="36"/>
                    <a:pt x="260" y="43"/>
                    <a:pt x="265" y="47"/>
                  </a:cubicBezTo>
                  <a:cubicBezTo>
                    <a:pt x="271" y="51"/>
                    <a:pt x="278" y="51"/>
                    <a:pt x="284" y="51"/>
                  </a:cubicBezTo>
                  <a:cubicBezTo>
                    <a:pt x="285" y="51"/>
                    <a:pt x="287" y="51"/>
                    <a:pt x="288" y="52"/>
                  </a:cubicBezTo>
                  <a:cubicBezTo>
                    <a:pt x="288" y="53"/>
                    <a:pt x="288" y="55"/>
                    <a:pt x="287" y="56"/>
                  </a:cubicBezTo>
                  <a:cubicBezTo>
                    <a:pt x="285" y="62"/>
                    <a:pt x="283" y="69"/>
                    <a:pt x="285" y="75"/>
                  </a:cubicBezTo>
                  <a:cubicBezTo>
                    <a:pt x="287" y="82"/>
                    <a:pt x="293" y="86"/>
                    <a:pt x="298" y="90"/>
                  </a:cubicBezTo>
                  <a:cubicBezTo>
                    <a:pt x="299" y="91"/>
                    <a:pt x="300" y="92"/>
                    <a:pt x="301" y="93"/>
                  </a:cubicBezTo>
                  <a:cubicBezTo>
                    <a:pt x="300" y="94"/>
                    <a:pt x="299" y="95"/>
                    <a:pt x="298" y="96"/>
                  </a:cubicBezTo>
                  <a:close/>
                  <a:moveTo>
                    <a:pt x="248" y="61"/>
                  </a:moveTo>
                  <a:cubicBezTo>
                    <a:pt x="239" y="56"/>
                    <a:pt x="230" y="55"/>
                    <a:pt x="221" y="58"/>
                  </a:cubicBezTo>
                  <a:cubicBezTo>
                    <a:pt x="212" y="61"/>
                    <a:pt x="204" y="67"/>
                    <a:pt x="200" y="75"/>
                  </a:cubicBezTo>
                  <a:cubicBezTo>
                    <a:pt x="195" y="84"/>
                    <a:pt x="195" y="93"/>
                    <a:pt x="197" y="103"/>
                  </a:cubicBezTo>
                  <a:cubicBezTo>
                    <a:pt x="200" y="112"/>
                    <a:pt x="206" y="119"/>
                    <a:pt x="215" y="123"/>
                  </a:cubicBezTo>
                  <a:cubicBezTo>
                    <a:pt x="220" y="126"/>
                    <a:pt x="226" y="128"/>
                    <a:pt x="231" y="128"/>
                  </a:cubicBezTo>
                  <a:cubicBezTo>
                    <a:pt x="235" y="128"/>
                    <a:pt x="238" y="127"/>
                    <a:pt x="242" y="126"/>
                  </a:cubicBezTo>
                  <a:cubicBezTo>
                    <a:pt x="251" y="123"/>
                    <a:pt x="258" y="117"/>
                    <a:pt x="263" y="109"/>
                  </a:cubicBezTo>
                  <a:cubicBezTo>
                    <a:pt x="267" y="100"/>
                    <a:pt x="268" y="91"/>
                    <a:pt x="265" y="81"/>
                  </a:cubicBezTo>
                  <a:cubicBezTo>
                    <a:pt x="262" y="72"/>
                    <a:pt x="256" y="65"/>
                    <a:pt x="248" y="61"/>
                  </a:cubicBezTo>
                  <a:close/>
                  <a:moveTo>
                    <a:pt x="244" y="99"/>
                  </a:moveTo>
                  <a:cubicBezTo>
                    <a:pt x="242" y="102"/>
                    <a:pt x="239" y="104"/>
                    <a:pt x="236" y="106"/>
                  </a:cubicBezTo>
                  <a:cubicBezTo>
                    <a:pt x="232" y="107"/>
                    <a:pt x="228" y="106"/>
                    <a:pt x="225" y="105"/>
                  </a:cubicBezTo>
                  <a:cubicBezTo>
                    <a:pt x="221" y="103"/>
                    <a:pt x="219" y="100"/>
                    <a:pt x="218" y="96"/>
                  </a:cubicBezTo>
                  <a:cubicBezTo>
                    <a:pt x="217" y="93"/>
                    <a:pt x="217" y="89"/>
                    <a:pt x="219" y="85"/>
                  </a:cubicBezTo>
                  <a:cubicBezTo>
                    <a:pt x="221" y="82"/>
                    <a:pt x="223" y="80"/>
                    <a:pt x="227" y="78"/>
                  </a:cubicBezTo>
                  <a:cubicBezTo>
                    <a:pt x="229" y="78"/>
                    <a:pt x="230" y="78"/>
                    <a:pt x="231" y="78"/>
                  </a:cubicBezTo>
                  <a:cubicBezTo>
                    <a:pt x="234" y="78"/>
                    <a:pt x="236" y="78"/>
                    <a:pt x="238" y="79"/>
                  </a:cubicBezTo>
                  <a:cubicBezTo>
                    <a:pt x="241" y="81"/>
                    <a:pt x="244" y="84"/>
                    <a:pt x="245" y="88"/>
                  </a:cubicBezTo>
                  <a:cubicBezTo>
                    <a:pt x="246" y="91"/>
                    <a:pt x="246" y="95"/>
                    <a:pt x="244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28" name="Group 432">
            <a:extLst>
              <a:ext uri="{FF2B5EF4-FFF2-40B4-BE49-F238E27FC236}">
                <a16:creationId xmlns:a16="http://schemas.microsoft.com/office/drawing/2014/main" id="{8CECF132-9619-436E-9A85-FF723DC7BC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3208196"/>
            <a:ext cx="394838" cy="396000"/>
            <a:chOff x="3505" y="1546"/>
            <a:chExt cx="340" cy="341"/>
          </a:xfrm>
          <a:solidFill>
            <a:srgbClr val="014694"/>
          </a:solidFill>
        </p:grpSpPr>
        <p:sp>
          <p:nvSpPr>
            <p:cNvPr id="31" name="Freeform 433">
              <a:extLst>
                <a:ext uri="{FF2B5EF4-FFF2-40B4-BE49-F238E27FC236}">
                  <a16:creationId xmlns:a16="http://schemas.microsoft.com/office/drawing/2014/main" id="{B1E1F99E-B855-4774-808F-22CD28DDD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9" y="1610"/>
              <a:ext cx="212" cy="213"/>
            </a:xfrm>
            <a:custGeom>
              <a:avLst/>
              <a:gdLst>
                <a:gd name="T0" fmla="*/ 309 w 320"/>
                <a:gd name="T1" fmla="*/ 149 h 320"/>
                <a:gd name="T2" fmla="*/ 287 w 320"/>
                <a:gd name="T3" fmla="*/ 149 h 320"/>
                <a:gd name="T4" fmla="*/ 170 w 320"/>
                <a:gd name="T5" fmla="*/ 32 h 320"/>
                <a:gd name="T6" fmla="*/ 170 w 320"/>
                <a:gd name="T7" fmla="*/ 10 h 320"/>
                <a:gd name="T8" fmla="*/ 160 w 320"/>
                <a:gd name="T9" fmla="*/ 0 h 320"/>
                <a:gd name="T10" fmla="*/ 149 w 320"/>
                <a:gd name="T11" fmla="*/ 10 h 320"/>
                <a:gd name="T12" fmla="*/ 149 w 320"/>
                <a:gd name="T13" fmla="*/ 32 h 320"/>
                <a:gd name="T14" fmla="*/ 32 w 320"/>
                <a:gd name="T15" fmla="*/ 149 h 320"/>
                <a:gd name="T16" fmla="*/ 10 w 320"/>
                <a:gd name="T17" fmla="*/ 149 h 320"/>
                <a:gd name="T18" fmla="*/ 0 w 320"/>
                <a:gd name="T19" fmla="*/ 160 h 320"/>
                <a:gd name="T20" fmla="*/ 10 w 320"/>
                <a:gd name="T21" fmla="*/ 170 h 320"/>
                <a:gd name="T22" fmla="*/ 32 w 320"/>
                <a:gd name="T23" fmla="*/ 170 h 320"/>
                <a:gd name="T24" fmla="*/ 149 w 320"/>
                <a:gd name="T25" fmla="*/ 287 h 320"/>
                <a:gd name="T26" fmla="*/ 149 w 320"/>
                <a:gd name="T27" fmla="*/ 309 h 320"/>
                <a:gd name="T28" fmla="*/ 160 w 320"/>
                <a:gd name="T29" fmla="*/ 320 h 320"/>
                <a:gd name="T30" fmla="*/ 170 w 320"/>
                <a:gd name="T31" fmla="*/ 309 h 320"/>
                <a:gd name="T32" fmla="*/ 170 w 320"/>
                <a:gd name="T33" fmla="*/ 287 h 320"/>
                <a:gd name="T34" fmla="*/ 287 w 320"/>
                <a:gd name="T35" fmla="*/ 170 h 320"/>
                <a:gd name="T36" fmla="*/ 309 w 320"/>
                <a:gd name="T37" fmla="*/ 170 h 320"/>
                <a:gd name="T38" fmla="*/ 320 w 320"/>
                <a:gd name="T39" fmla="*/ 160 h 320"/>
                <a:gd name="T40" fmla="*/ 309 w 320"/>
                <a:gd name="T41" fmla="*/ 149 h 320"/>
                <a:gd name="T42" fmla="*/ 266 w 320"/>
                <a:gd name="T43" fmla="*/ 149 h 320"/>
                <a:gd name="T44" fmla="*/ 233 w 320"/>
                <a:gd name="T45" fmla="*/ 149 h 320"/>
                <a:gd name="T46" fmla="*/ 170 w 320"/>
                <a:gd name="T47" fmla="*/ 86 h 320"/>
                <a:gd name="T48" fmla="*/ 170 w 320"/>
                <a:gd name="T49" fmla="*/ 54 h 320"/>
                <a:gd name="T50" fmla="*/ 266 w 320"/>
                <a:gd name="T51" fmla="*/ 149 h 320"/>
                <a:gd name="T52" fmla="*/ 149 w 320"/>
                <a:gd name="T53" fmla="*/ 149 h 320"/>
                <a:gd name="T54" fmla="*/ 107 w 320"/>
                <a:gd name="T55" fmla="*/ 149 h 320"/>
                <a:gd name="T56" fmla="*/ 149 w 320"/>
                <a:gd name="T57" fmla="*/ 107 h 320"/>
                <a:gd name="T58" fmla="*/ 149 w 320"/>
                <a:gd name="T59" fmla="*/ 149 h 320"/>
                <a:gd name="T60" fmla="*/ 149 w 320"/>
                <a:gd name="T61" fmla="*/ 170 h 320"/>
                <a:gd name="T62" fmla="*/ 149 w 320"/>
                <a:gd name="T63" fmla="*/ 212 h 320"/>
                <a:gd name="T64" fmla="*/ 107 w 320"/>
                <a:gd name="T65" fmla="*/ 170 h 320"/>
                <a:gd name="T66" fmla="*/ 149 w 320"/>
                <a:gd name="T67" fmla="*/ 170 h 320"/>
                <a:gd name="T68" fmla="*/ 170 w 320"/>
                <a:gd name="T69" fmla="*/ 170 h 320"/>
                <a:gd name="T70" fmla="*/ 212 w 320"/>
                <a:gd name="T71" fmla="*/ 170 h 320"/>
                <a:gd name="T72" fmla="*/ 170 w 320"/>
                <a:gd name="T73" fmla="*/ 212 h 320"/>
                <a:gd name="T74" fmla="*/ 170 w 320"/>
                <a:gd name="T75" fmla="*/ 170 h 320"/>
                <a:gd name="T76" fmla="*/ 170 w 320"/>
                <a:gd name="T77" fmla="*/ 149 h 320"/>
                <a:gd name="T78" fmla="*/ 170 w 320"/>
                <a:gd name="T79" fmla="*/ 107 h 320"/>
                <a:gd name="T80" fmla="*/ 212 w 320"/>
                <a:gd name="T81" fmla="*/ 149 h 320"/>
                <a:gd name="T82" fmla="*/ 170 w 320"/>
                <a:gd name="T83" fmla="*/ 149 h 320"/>
                <a:gd name="T84" fmla="*/ 149 w 320"/>
                <a:gd name="T85" fmla="*/ 54 h 320"/>
                <a:gd name="T86" fmla="*/ 149 w 320"/>
                <a:gd name="T87" fmla="*/ 86 h 320"/>
                <a:gd name="T88" fmla="*/ 86 w 320"/>
                <a:gd name="T89" fmla="*/ 149 h 320"/>
                <a:gd name="T90" fmla="*/ 54 w 320"/>
                <a:gd name="T91" fmla="*/ 149 h 320"/>
                <a:gd name="T92" fmla="*/ 149 w 320"/>
                <a:gd name="T93" fmla="*/ 54 h 320"/>
                <a:gd name="T94" fmla="*/ 54 w 320"/>
                <a:gd name="T95" fmla="*/ 170 h 320"/>
                <a:gd name="T96" fmla="*/ 86 w 320"/>
                <a:gd name="T97" fmla="*/ 170 h 320"/>
                <a:gd name="T98" fmla="*/ 149 w 320"/>
                <a:gd name="T99" fmla="*/ 233 h 320"/>
                <a:gd name="T100" fmla="*/ 149 w 320"/>
                <a:gd name="T101" fmla="*/ 266 h 320"/>
                <a:gd name="T102" fmla="*/ 54 w 320"/>
                <a:gd name="T103" fmla="*/ 170 h 320"/>
                <a:gd name="T104" fmla="*/ 170 w 320"/>
                <a:gd name="T105" fmla="*/ 266 h 320"/>
                <a:gd name="T106" fmla="*/ 170 w 320"/>
                <a:gd name="T107" fmla="*/ 233 h 320"/>
                <a:gd name="T108" fmla="*/ 233 w 320"/>
                <a:gd name="T109" fmla="*/ 170 h 320"/>
                <a:gd name="T110" fmla="*/ 266 w 320"/>
                <a:gd name="T111" fmla="*/ 170 h 320"/>
                <a:gd name="T112" fmla="*/ 170 w 320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320">
                  <a:moveTo>
                    <a:pt x="309" y="149"/>
                  </a:moveTo>
                  <a:cubicBezTo>
                    <a:pt x="287" y="149"/>
                    <a:pt x="287" y="149"/>
                    <a:pt x="287" y="149"/>
                  </a:cubicBezTo>
                  <a:cubicBezTo>
                    <a:pt x="282" y="87"/>
                    <a:pt x="232" y="37"/>
                    <a:pt x="170" y="3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87" y="37"/>
                    <a:pt x="37" y="87"/>
                    <a:pt x="3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7" y="232"/>
                    <a:pt x="87" y="282"/>
                    <a:pt x="149" y="28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32" y="282"/>
                    <a:pt x="282" y="232"/>
                    <a:pt x="287" y="170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lose/>
                  <a:moveTo>
                    <a:pt x="266" y="149"/>
                  </a:moveTo>
                  <a:cubicBezTo>
                    <a:pt x="233" y="149"/>
                    <a:pt x="233" y="149"/>
                    <a:pt x="233" y="149"/>
                  </a:cubicBezTo>
                  <a:cubicBezTo>
                    <a:pt x="229" y="116"/>
                    <a:pt x="203" y="91"/>
                    <a:pt x="170" y="86"/>
                  </a:cubicBezTo>
                  <a:cubicBezTo>
                    <a:pt x="170" y="54"/>
                    <a:pt x="170" y="54"/>
                    <a:pt x="170" y="54"/>
                  </a:cubicBezTo>
                  <a:cubicBezTo>
                    <a:pt x="221" y="59"/>
                    <a:pt x="261" y="99"/>
                    <a:pt x="266" y="149"/>
                  </a:cubicBezTo>
                  <a:close/>
                  <a:moveTo>
                    <a:pt x="149" y="149"/>
                  </a:moveTo>
                  <a:cubicBezTo>
                    <a:pt x="107" y="149"/>
                    <a:pt x="107" y="149"/>
                    <a:pt x="107" y="149"/>
                  </a:cubicBezTo>
                  <a:cubicBezTo>
                    <a:pt x="112" y="128"/>
                    <a:pt x="128" y="112"/>
                    <a:pt x="149" y="107"/>
                  </a:cubicBezTo>
                  <a:lnTo>
                    <a:pt x="149" y="149"/>
                  </a:lnTo>
                  <a:close/>
                  <a:moveTo>
                    <a:pt x="149" y="170"/>
                  </a:moveTo>
                  <a:cubicBezTo>
                    <a:pt x="149" y="212"/>
                    <a:pt x="149" y="212"/>
                    <a:pt x="149" y="212"/>
                  </a:cubicBezTo>
                  <a:cubicBezTo>
                    <a:pt x="128" y="208"/>
                    <a:pt x="112" y="191"/>
                    <a:pt x="107" y="170"/>
                  </a:cubicBezTo>
                  <a:lnTo>
                    <a:pt x="149" y="170"/>
                  </a:lnTo>
                  <a:close/>
                  <a:moveTo>
                    <a:pt x="170" y="170"/>
                  </a:moveTo>
                  <a:cubicBezTo>
                    <a:pt x="212" y="170"/>
                    <a:pt x="212" y="170"/>
                    <a:pt x="212" y="170"/>
                  </a:cubicBezTo>
                  <a:cubicBezTo>
                    <a:pt x="208" y="191"/>
                    <a:pt x="191" y="208"/>
                    <a:pt x="170" y="212"/>
                  </a:cubicBezTo>
                  <a:lnTo>
                    <a:pt x="170" y="170"/>
                  </a:lnTo>
                  <a:close/>
                  <a:moveTo>
                    <a:pt x="170" y="149"/>
                  </a:moveTo>
                  <a:cubicBezTo>
                    <a:pt x="170" y="107"/>
                    <a:pt x="170" y="107"/>
                    <a:pt x="170" y="107"/>
                  </a:cubicBezTo>
                  <a:cubicBezTo>
                    <a:pt x="191" y="112"/>
                    <a:pt x="208" y="128"/>
                    <a:pt x="212" y="149"/>
                  </a:cubicBezTo>
                  <a:lnTo>
                    <a:pt x="170" y="149"/>
                  </a:lnTo>
                  <a:close/>
                  <a:moveTo>
                    <a:pt x="149" y="54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16" y="91"/>
                    <a:pt x="91" y="116"/>
                    <a:pt x="86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59" y="99"/>
                    <a:pt x="99" y="59"/>
                    <a:pt x="149" y="54"/>
                  </a:cubicBezTo>
                  <a:close/>
                  <a:moveTo>
                    <a:pt x="54" y="170"/>
                  </a:moveTo>
                  <a:cubicBezTo>
                    <a:pt x="86" y="170"/>
                    <a:pt x="86" y="170"/>
                    <a:pt x="86" y="170"/>
                  </a:cubicBezTo>
                  <a:cubicBezTo>
                    <a:pt x="91" y="203"/>
                    <a:pt x="116" y="229"/>
                    <a:pt x="149" y="233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99" y="261"/>
                    <a:pt x="59" y="221"/>
                    <a:pt x="54" y="170"/>
                  </a:cubicBezTo>
                  <a:close/>
                  <a:moveTo>
                    <a:pt x="170" y="266"/>
                  </a:moveTo>
                  <a:cubicBezTo>
                    <a:pt x="170" y="233"/>
                    <a:pt x="170" y="233"/>
                    <a:pt x="170" y="233"/>
                  </a:cubicBezTo>
                  <a:cubicBezTo>
                    <a:pt x="203" y="229"/>
                    <a:pt x="229" y="203"/>
                    <a:pt x="233" y="170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61" y="221"/>
                    <a:pt x="221" y="261"/>
                    <a:pt x="170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2" name="Freeform 434">
              <a:extLst>
                <a:ext uri="{FF2B5EF4-FFF2-40B4-BE49-F238E27FC236}">
                  <a16:creationId xmlns:a16="http://schemas.microsoft.com/office/drawing/2014/main" id="{FDD5F1A3-5FB2-417D-AA03-77AB924AC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5" y="15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43" name="Group 614">
            <a:extLst>
              <a:ext uri="{FF2B5EF4-FFF2-40B4-BE49-F238E27FC236}">
                <a16:creationId xmlns:a16="http://schemas.microsoft.com/office/drawing/2014/main" id="{88F9FFEE-5F07-421A-A5A5-23AD6A3566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7131" y="4137663"/>
            <a:ext cx="396002" cy="396004"/>
            <a:chOff x="3780" y="2658"/>
            <a:chExt cx="340" cy="340"/>
          </a:xfrm>
          <a:solidFill>
            <a:srgbClr val="014694"/>
          </a:solidFill>
        </p:grpSpPr>
        <p:sp>
          <p:nvSpPr>
            <p:cNvPr id="44" name="Freeform 615">
              <a:extLst>
                <a:ext uri="{FF2B5EF4-FFF2-40B4-BE49-F238E27FC236}">
                  <a16:creationId xmlns:a16="http://schemas.microsoft.com/office/drawing/2014/main" id="{E25EEEE3-D217-4053-91A6-459DED33B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99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5" name="Freeform 616">
              <a:extLst>
                <a:ext uri="{FF2B5EF4-FFF2-40B4-BE49-F238E27FC236}">
                  <a16:creationId xmlns:a16="http://schemas.microsoft.com/office/drawing/2014/main" id="{03D1D9C4-C67B-4426-A46B-783F319B2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57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6" name="Freeform 617">
              <a:extLst>
                <a:ext uri="{FF2B5EF4-FFF2-40B4-BE49-F238E27FC236}">
                  <a16:creationId xmlns:a16="http://schemas.microsoft.com/office/drawing/2014/main" id="{E6A46365-D107-49D5-914D-16AC9C285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42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7" name="Freeform 618">
              <a:extLst>
                <a:ext uri="{FF2B5EF4-FFF2-40B4-BE49-F238E27FC236}">
                  <a16:creationId xmlns:a16="http://schemas.microsoft.com/office/drawing/2014/main" id="{B69A2C19-D0D6-4B19-B122-1B6B849B5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99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8" name="Freeform 619">
              <a:extLst>
                <a:ext uri="{FF2B5EF4-FFF2-40B4-BE49-F238E27FC236}">
                  <a16:creationId xmlns:a16="http://schemas.microsoft.com/office/drawing/2014/main" id="{A4004620-E0B6-41D5-B492-FD8ACD25E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57"/>
              <a:ext cx="135" cy="14"/>
            </a:xfrm>
            <a:custGeom>
              <a:avLst/>
              <a:gdLst>
                <a:gd name="T0" fmla="*/ 10 w 202"/>
                <a:gd name="T1" fmla="*/ 21 h 21"/>
                <a:gd name="T2" fmla="*/ 192 w 202"/>
                <a:gd name="T3" fmla="*/ 21 h 21"/>
                <a:gd name="T4" fmla="*/ 202 w 202"/>
                <a:gd name="T5" fmla="*/ 11 h 21"/>
                <a:gd name="T6" fmla="*/ 192 w 202"/>
                <a:gd name="T7" fmla="*/ 0 h 21"/>
                <a:gd name="T8" fmla="*/ 10 w 202"/>
                <a:gd name="T9" fmla="*/ 0 h 21"/>
                <a:gd name="T10" fmla="*/ 0 w 202"/>
                <a:gd name="T11" fmla="*/ 11 h 21"/>
                <a:gd name="T12" fmla="*/ 10 w 20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0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9" name="Freeform 620">
              <a:extLst>
                <a:ext uri="{FF2B5EF4-FFF2-40B4-BE49-F238E27FC236}">
                  <a16:creationId xmlns:a16="http://schemas.microsoft.com/office/drawing/2014/main" id="{00AEC383-CD10-4A5E-A726-78A0CA406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42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50" name="Freeform 621">
              <a:extLst>
                <a:ext uri="{FF2B5EF4-FFF2-40B4-BE49-F238E27FC236}">
                  <a16:creationId xmlns:a16="http://schemas.microsoft.com/office/drawing/2014/main" id="{C889B91B-2332-4A9A-BD17-7EFAF036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84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51" name="Freeform 622">
              <a:extLst>
                <a:ext uri="{FF2B5EF4-FFF2-40B4-BE49-F238E27FC236}">
                  <a16:creationId xmlns:a16="http://schemas.microsoft.com/office/drawing/2014/main" id="{E38E901E-84E9-43C4-BCCF-59F8C4962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84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52" name="Freeform 623">
              <a:extLst>
                <a:ext uri="{FF2B5EF4-FFF2-40B4-BE49-F238E27FC236}">
                  <a16:creationId xmlns:a16="http://schemas.microsoft.com/office/drawing/2014/main" id="{F1639A03-7FA8-4F05-9F26-5F3B781B73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0" y="26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11278881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227589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Om ny økonomimodell – hva betyr det for deg som innkjøper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</a:t>
                      </a:r>
                      <a:r>
                        <a:rPr lang="nb-NO" sz="1400" b="1" i="0" u="none" strike="noStrike" noProof="0">
                          <a:latin typeface="Arial"/>
                        </a:rPr>
                        <a:t>opprette innkjøpsforespørsel, utføre vare-/tjenestemottak, og fakturabehandling</a:t>
                      </a:r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60050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62FAAF3-5850-878C-367C-ECDBDFC32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1172527"/>
            <a:ext cx="3008313" cy="871538"/>
          </a:xfrm>
        </p:spPr>
        <p:txBody>
          <a:bodyPr anchor="b">
            <a:normAutofit/>
          </a:bodyPr>
          <a:lstStyle/>
          <a:p>
            <a:r>
              <a:rPr lang="nb-NO"/>
              <a:t>BOTT økonomimodell</a:t>
            </a:r>
          </a:p>
        </p:txBody>
      </p:sp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454553" y="204792"/>
            <a:ext cx="5074952" cy="4389835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2044067"/>
            <a:ext cx="3008313" cy="1389082"/>
          </a:xfrm>
        </p:spPr>
        <p:txBody>
          <a:bodyPr>
            <a:normAutofit/>
          </a:bodyPr>
          <a:lstStyle/>
          <a:p>
            <a:r>
              <a:rPr lang="nb-NO" sz="1600"/>
              <a:t>En kort innføring</a:t>
            </a:r>
          </a:p>
        </p:txBody>
      </p:sp>
    </p:spTree>
    <p:extLst>
      <p:ext uri="{BB962C8B-B14F-4D97-AF65-F5344CB8AC3E}">
        <p14:creationId xmlns:p14="http://schemas.microsoft.com/office/powerpoint/2010/main" val="34179151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62FAAF3-5850-878C-367C-ECDBDFC32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>
            <a:normAutofit/>
          </a:bodyPr>
          <a:lstStyle/>
          <a:p>
            <a:r>
              <a:rPr lang="nb-NO"/>
              <a:t>Læringsmål</a:t>
            </a:r>
          </a:p>
        </p:txBody>
      </p:sp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454553" y="204792"/>
            <a:ext cx="5074952" cy="4389835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1076327"/>
            <a:ext cx="3008313" cy="1389082"/>
          </a:xfrm>
        </p:spPr>
        <p:txBody>
          <a:bodyPr>
            <a:normAutofit/>
          </a:bodyPr>
          <a:lstStyle/>
          <a:p>
            <a:r>
              <a:rPr lang="nb-NO" sz="1600"/>
              <a:t>Ha oversikt over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Ny konteringsstre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Hvilke konteringsfelt du skal bruke</a:t>
            </a:r>
          </a:p>
        </p:txBody>
      </p:sp>
      <p:sp>
        <p:nvSpPr>
          <p:cNvPr id="3" name="Pil: høyre 2">
            <a:extLst>
              <a:ext uri="{FF2B5EF4-FFF2-40B4-BE49-F238E27FC236}">
                <a16:creationId xmlns:a16="http://schemas.microsoft.com/office/drawing/2014/main" id="{1972E8BB-3B09-21A7-FBBF-345C1D774899}"/>
              </a:ext>
            </a:extLst>
          </p:cNvPr>
          <p:cNvSpPr/>
          <p:nvPr/>
        </p:nvSpPr>
        <p:spPr>
          <a:xfrm>
            <a:off x="1380565" y="2835474"/>
            <a:ext cx="2084949" cy="427679"/>
          </a:xfrm>
          <a:prstGeom prst="rightArrow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8721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316627"/>
            <a:ext cx="8499348" cy="648512"/>
          </a:xfrm>
        </p:spPr>
        <p:txBody>
          <a:bodyPr>
            <a:noAutofit/>
          </a:bodyPr>
          <a:lstStyle/>
          <a:p>
            <a:r>
              <a:rPr lang="nb-NO" sz="2400"/>
              <a:t>Endringer sammenlignet med dagens økonomimodel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965140"/>
            <a:ext cx="8229600" cy="411892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nb-NO" sz="3400" u="sng"/>
              <a:t>Ny konteringsstreng</a:t>
            </a:r>
          </a:p>
          <a:p>
            <a:endParaRPr lang="nb-NO"/>
          </a:p>
          <a:p>
            <a:r>
              <a:rPr lang="nb-NO"/>
              <a:t>Ny felles BOTT kontoplan</a:t>
            </a:r>
          </a:p>
          <a:p>
            <a:pPr lvl="1"/>
            <a:r>
              <a:rPr lang="nb-NO"/>
              <a:t>Felles firesifret kontoplan</a:t>
            </a:r>
          </a:p>
          <a:p>
            <a:r>
              <a:rPr lang="nb-NO"/>
              <a:t>Ny koststedstruktur</a:t>
            </a:r>
          </a:p>
          <a:p>
            <a:pPr lvl="1"/>
            <a:r>
              <a:rPr lang="nb-NO"/>
              <a:t>Åtte sifre</a:t>
            </a:r>
          </a:p>
          <a:p>
            <a:r>
              <a:rPr lang="nb-NO"/>
              <a:t>Nytt prosjekthierarki</a:t>
            </a:r>
          </a:p>
          <a:p>
            <a:pPr lvl="1"/>
            <a:r>
              <a:rPr lang="nb-NO"/>
              <a:t>Hovedprosjekt-prosjekt-delprosjekt</a:t>
            </a:r>
          </a:p>
          <a:p>
            <a:pPr lvl="1"/>
            <a:r>
              <a:rPr lang="nb-NO"/>
              <a:t>Gjelder både BOA- og interne prosjekter</a:t>
            </a:r>
          </a:p>
          <a:p>
            <a:pPr lvl="1"/>
            <a:r>
              <a:rPr lang="nb-NO"/>
              <a:t>Nye nummer</a:t>
            </a:r>
          </a:p>
          <a:p>
            <a:r>
              <a:rPr lang="nb-NO"/>
              <a:t>Anleggsnummer på alle anleggskonteringer</a:t>
            </a:r>
          </a:p>
          <a:p>
            <a:r>
              <a:rPr lang="nb-NO"/>
              <a:t>Ansattnummer på alle lønnskonteringer</a:t>
            </a:r>
          </a:p>
          <a:p>
            <a:r>
              <a:rPr lang="nb-NO"/>
              <a:t>Byggnummer på alle </a:t>
            </a:r>
            <a:r>
              <a:rPr lang="nb-NO" err="1"/>
              <a:t>byggposteringer</a:t>
            </a:r>
            <a:endParaRPr lang="nb-NO"/>
          </a:p>
          <a:p>
            <a:r>
              <a:rPr lang="nb-NO"/>
              <a:t>Arbeidspakkenummer på alle BOA-prosjekter med arbeidspakker</a:t>
            </a:r>
          </a:p>
          <a:p>
            <a:r>
              <a:rPr lang="nb-NO"/>
              <a:t>Nåværende analysefelt utgår</a:t>
            </a:r>
          </a:p>
          <a:p>
            <a:pPr lvl="1"/>
            <a:r>
              <a:rPr lang="nb-NO"/>
              <a:t>Erstattes med hovedprosjekt-prosjekt-delprosjekt</a:t>
            </a:r>
          </a:p>
        </p:txBody>
      </p:sp>
      <p:pic>
        <p:nvPicPr>
          <p:cNvPr id="6" name="Bilde 5" descr="Et bilde som inneholder skjermbilde&#10;&#10;Automatisk generert beskrivelse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" t="5970" r="1682" b="8183"/>
          <a:stretch/>
        </p:blipFill>
        <p:spPr>
          <a:xfrm>
            <a:off x="3621024" y="978855"/>
            <a:ext cx="4727448" cy="47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8101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eringsstrengen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59525" y="825729"/>
            <a:ext cx="7927276" cy="319177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gens konteringsstreng ved NTNU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y konteringsstreng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ytt konteringsnivå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Rectangle 3"/>
          <p:cNvSpPr/>
          <p:nvPr/>
        </p:nvSpPr>
        <p:spPr>
          <a:xfrm>
            <a:off x="958437" y="127699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rt (konto)</a:t>
            </a:r>
          </a:p>
        </p:txBody>
      </p:sp>
      <p:sp>
        <p:nvSpPr>
          <p:cNvPr id="29" name="Rectangle 4"/>
          <p:cNvSpPr/>
          <p:nvPr/>
        </p:nvSpPr>
        <p:spPr>
          <a:xfrm>
            <a:off x="2267692" y="1276670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30" name="Rectangle 5"/>
          <p:cNvSpPr/>
          <p:nvPr/>
        </p:nvSpPr>
        <p:spPr>
          <a:xfrm>
            <a:off x="3671206" y="1276669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31" name="Rectangle 6"/>
          <p:cNvSpPr/>
          <p:nvPr/>
        </p:nvSpPr>
        <p:spPr>
          <a:xfrm>
            <a:off x="5053940" y="127699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alyse</a:t>
            </a:r>
          </a:p>
        </p:txBody>
      </p:sp>
      <p:sp>
        <p:nvSpPr>
          <p:cNvPr id="33" name="Rectangle 13"/>
          <p:cNvSpPr/>
          <p:nvPr/>
        </p:nvSpPr>
        <p:spPr>
          <a:xfrm>
            <a:off x="958436" y="2618042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34" name="Rectangle 17"/>
          <p:cNvSpPr/>
          <p:nvPr/>
        </p:nvSpPr>
        <p:spPr>
          <a:xfrm>
            <a:off x="2267690" y="2618041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35" name="Rectangle 18"/>
          <p:cNvSpPr/>
          <p:nvPr/>
        </p:nvSpPr>
        <p:spPr>
          <a:xfrm>
            <a:off x="3671205" y="2618041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36" name="Rectangle 19"/>
          <p:cNvSpPr/>
          <p:nvPr/>
        </p:nvSpPr>
        <p:spPr>
          <a:xfrm>
            <a:off x="5047732" y="2607109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37" name="Rectangle 20"/>
          <p:cNvSpPr/>
          <p:nvPr/>
        </p:nvSpPr>
        <p:spPr>
          <a:xfrm>
            <a:off x="6356986" y="2607108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legg/ </a:t>
            </a:r>
            <a:r>
              <a:rPr kumimoji="0" lang="nb-NO" sz="1800" b="0" i="0" u="none" strike="noStrike" kern="0" cap="none" spc="0" normalizeH="0" baseline="0" noProof="0" err="1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sattnr</a:t>
            </a:r>
            <a:endParaRPr kumimoji="0" lang="nb-NO" sz="1800" b="0" i="0" u="none" strike="noStrike" kern="0" cap="none" spc="0" normalizeH="0" baseline="0" noProof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21"/>
          <p:cNvSpPr/>
          <p:nvPr/>
        </p:nvSpPr>
        <p:spPr>
          <a:xfrm>
            <a:off x="7723044" y="2607109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Bygg/ arbeids-pakke</a:t>
            </a:r>
          </a:p>
        </p:txBody>
      </p:sp>
      <p:cxnSp>
        <p:nvCxnSpPr>
          <p:cNvPr id="39" name="Straight Connector 10"/>
          <p:cNvCxnSpPr>
            <a:stCxn id="36" idx="2"/>
          </p:cNvCxnSpPr>
          <p:nvPr/>
        </p:nvCxnSpPr>
        <p:spPr>
          <a:xfrm flipH="1">
            <a:off x="5602903" y="3189000"/>
            <a:ext cx="1" cy="286999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0" name="Straight Connector 25"/>
          <p:cNvCxnSpPr/>
          <p:nvPr/>
        </p:nvCxnSpPr>
        <p:spPr>
          <a:xfrm flipH="1">
            <a:off x="4226377" y="3475999"/>
            <a:ext cx="1376527" cy="10932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1" name="Straight Arrow Connector 27"/>
          <p:cNvCxnSpPr>
            <a:endCxn id="35" idx="2"/>
          </p:cNvCxnSpPr>
          <p:nvPr/>
        </p:nvCxnSpPr>
        <p:spPr>
          <a:xfrm flipV="1">
            <a:off x="4226376" y="3199932"/>
            <a:ext cx="1" cy="286999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2" name="TextBox 28"/>
          <p:cNvSpPr txBox="1"/>
          <p:nvPr/>
        </p:nvSpPr>
        <p:spPr>
          <a:xfrm>
            <a:off x="4488849" y="3427682"/>
            <a:ext cx="9628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sp>
        <p:nvSpPr>
          <p:cNvPr id="43" name="Rectangle 23"/>
          <p:cNvSpPr/>
          <p:nvPr/>
        </p:nvSpPr>
        <p:spPr>
          <a:xfrm>
            <a:off x="958435" y="3921654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44" name="Rectangle 24"/>
          <p:cNvSpPr/>
          <p:nvPr/>
        </p:nvSpPr>
        <p:spPr>
          <a:xfrm>
            <a:off x="2267688" y="392716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45" name="Rectangle 26"/>
          <p:cNvSpPr/>
          <p:nvPr/>
        </p:nvSpPr>
        <p:spPr>
          <a:xfrm>
            <a:off x="5047731" y="3926267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EE5687-6C02-66AE-4278-09FEA7D19348}"/>
              </a:ext>
            </a:extLst>
          </p:cNvPr>
          <p:cNvSpPr txBox="1"/>
          <p:nvPr/>
        </p:nvSpPr>
        <p:spPr>
          <a:xfrm>
            <a:off x="6356984" y="3509438"/>
            <a:ext cx="2780041" cy="1428083"/>
          </a:xfrm>
          <a:prstGeom prst="rect">
            <a:avLst/>
          </a:prstGeom>
          <a:noFill/>
          <a:ln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ktig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ktig valg av verdier ved kontering vil være avgjørende for å oppnå god kvalitet på informasjonen i regnskapet og for økonomistyringen.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849FD13-76D7-D80A-4F2A-020152A6A0D0}"/>
              </a:ext>
            </a:extLst>
          </p:cNvPr>
          <p:cNvSpPr/>
          <p:nvPr/>
        </p:nvSpPr>
        <p:spPr>
          <a:xfrm>
            <a:off x="755418" y="3528200"/>
            <a:ext cx="5518429" cy="1387456"/>
          </a:xfrm>
          <a:prstGeom prst="rect">
            <a:avLst/>
          </a:prstGeom>
          <a:noFill/>
          <a:ln w="28575" cap="flat" cmpd="sng" algn="ctr">
            <a:solidFill>
              <a:srgbClr val="BBAC7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BCD02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910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3D4E25D-8F15-4BE1-A686-B348750C0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46331"/>
          </a:xfrm>
        </p:spPr>
        <p:txBody>
          <a:bodyPr/>
          <a:lstStyle/>
          <a:p>
            <a:r>
              <a:rPr lang="nb-NO"/>
              <a:t>Kontering konto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AD76AE-D5D1-42AD-90C4-F25381002F2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 sz="1800"/>
          </a:p>
          <a:p>
            <a:pPr marL="0" indent="0">
              <a:buNone/>
            </a:pPr>
            <a:endParaRPr lang="nb-NO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5E5B5650-8011-4149-8879-ECAD049C5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5734" y="1627871"/>
            <a:ext cx="8802433" cy="3241785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pPr marL="0" indent="0">
              <a:buNone/>
            </a:pPr>
            <a:r>
              <a:rPr lang="nb-NO"/>
              <a:t>Deler opp regnskapet og organiserer inntekter, kostnader, eiendeler og gjeld på en slik måte at de gir oversikt over virksomhetens økonomiske situasjon</a:t>
            </a:r>
          </a:p>
          <a:p>
            <a:endParaRPr lang="nb-NO" b="1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Består av 4 siffer</a:t>
            </a:r>
          </a:p>
          <a:p>
            <a:r>
              <a:rPr lang="nb-NO"/>
              <a:t>Standardisert for BOTT (NY kontoplan)</a:t>
            </a:r>
          </a:p>
          <a:p>
            <a:r>
              <a:rPr lang="nb-NO"/>
              <a:t>Utarbeidet kontoplan med beskrivelser</a:t>
            </a:r>
          </a:p>
          <a:p>
            <a:r>
              <a:rPr lang="nb-NO"/>
              <a:t>Følger standard statlig kontoplan</a:t>
            </a:r>
          </a:p>
          <a:p>
            <a:endParaRPr lang="nb-NO"/>
          </a:p>
          <a:p>
            <a:pPr marL="0" indent="0">
              <a:buNone/>
            </a:pP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3"/>
              </a:rPr>
              <a:t>Lenke til kontoplan med beskrivelse (pdf) (Lenker til en ekstern side.)</a:t>
            </a:r>
            <a:endParaRPr lang="nb-NO" b="0" i="0">
              <a:solidFill>
                <a:srgbClr val="2D3B45"/>
              </a:solidFill>
              <a:effectLst/>
              <a:latin typeface="Lato Extended"/>
            </a:endParaRPr>
          </a:p>
          <a:p>
            <a:pPr marL="0" indent="0">
              <a:buNone/>
            </a:pP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4"/>
              </a:rPr>
              <a:t>Lenke til Håndbok 9-konti (tillegg til BOTT kontoplan) (pdf)</a:t>
            </a:r>
            <a:endParaRPr lang="nb-NO" b="0" i="0">
              <a:solidFill>
                <a:srgbClr val="2D3B45"/>
              </a:solidFill>
              <a:effectLst/>
              <a:latin typeface="Lato Extended"/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5F2E330-1821-4C81-8A21-23F241F9160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77"/>
          <a:stretch/>
        </p:blipFill>
        <p:spPr>
          <a:xfrm>
            <a:off x="532328" y="904975"/>
            <a:ext cx="6064079" cy="722897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172B2349-B931-C9C1-9B7A-920F9B766AA5}"/>
              </a:ext>
            </a:extLst>
          </p:cNvPr>
          <p:cNvSpPr txBox="1"/>
          <p:nvPr/>
        </p:nvSpPr>
        <p:spPr>
          <a:xfrm>
            <a:off x="6238240" y="2244128"/>
            <a:ext cx="2834640" cy="1477328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konto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kontonumm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.: Søk på 658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A52303EB-0372-CA84-FE8D-9B00BD26F0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766721"/>
            <a:ext cx="9144000" cy="1303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192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469DD2D-EA7A-4E6B-BA9C-211702880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koststed</a:t>
            </a:r>
          </a:p>
        </p:txBody>
      </p:sp>
      <p:sp>
        <p:nvSpPr>
          <p:cNvPr id="14" name="Plassholder for innhold 13">
            <a:extLst>
              <a:ext uri="{FF2B5EF4-FFF2-40B4-BE49-F238E27FC236}">
                <a16:creationId xmlns:a16="http://schemas.microsoft.com/office/drawing/2014/main" id="{062E7CC8-1AFC-419B-876B-BB1B938EF72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21" name="Plassholder for innhold 20">
            <a:extLst>
              <a:ext uri="{FF2B5EF4-FFF2-40B4-BE49-F238E27FC236}">
                <a16:creationId xmlns:a16="http://schemas.microsoft.com/office/drawing/2014/main" id="{6E3A5CB6-CC3E-4527-B463-921048ED0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760" y="1949572"/>
            <a:ext cx="5882640" cy="2852495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nb-NO"/>
              <a:t>Definerer hvilken enhet i organisasjonen transaksjonen skal tilordnes</a:t>
            </a:r>
          </a:p>
          <a:p>
            <a:pPr marL="0" indent="0">
              <a:buNone/>
            </a:pPr>
            <a:endParaRPr lang="nb-NO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Består av 8 siffer (NYE koststednummer)</a:t>
            </a:r>
          </a:p>
          <a:p>
            <a:r>
              <a:rPr lang="nb-NO"/>
              <a:t>Hierarkisk oppbygging som angir nivået i organisasjonen</a:t>
            </a:r>
          </a:p>
        </p:txBody>
      </p:sp>
      <p:pic>
        <p:nvPicPr>
          <p:cNvPr id="20" name="Bilde 19">
            <a:extLst>
              <a:ext uri="{FF2B5EF4-FFF2-40B4-BE49-F238E27FC236}">
                <a16:creationId xmlns:a16="http://schemas.microsoft.com/office/drawing/2014/main" id="{0965D42C-9575-4A7B-938F-4A2069F6B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74" y="1022989"/>
            <a:ext cx="6352408" cy="852460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902D8601-B0EB-7DC1-3986-CEBACD53F1CE}"/>
              </a:ext>
            </a:extLst>
          </p:cNvPr>
          <p:cNvSpPr txBox="1"/>
          <p:nvPr/>
        </p:nvSpPr>
        <p:spPr>
          <a:xfrm>
            <a:off x="5994400" y="2017162"/>
            <a:ext cx="2834640" cy="1754326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koststed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koststednumm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.: Søk på 6610 eller IBI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146CAC95-3A5D-75AB-DF8B-0F2D3063DBE6}"/>
              </a:ext>
            </a:extLst>
          </p:cNvPr>
          <p:cNvGraphicFramePr>
            <a:graphicFrameLocks noGrp="1"/>
          </p:cNvGraphicFramePr>
          <p:nvPr/>
        </p:nvGraphicFramePr>
        <p:xfrm>
          <a:off x="4155440" y="4120511"/>
          <a:ext cx="4876800" cy="889000"/>
        </p:xfrm>
        <a:graphic>
          <a:graphicData uri="http://schemas.openxmlformats.org/drawingml/2006/table">
            <a:tbl>
              <a:tblPr/>
              <a:tblGrid>
                <a:gridCol w="1219200">
                  <a:extLst>
                    <a:ext uri="{9D8B030D-6E8A-4147-A177-3AD203B41FA5}">
                      <a16:colId xmlns:a16="http://schemas.microsoft.com/office/drawing/2014/main" val="2945202627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413702839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05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 Institut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005737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Økologi-sekv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47475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Veksthus PB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4782010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TB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93493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5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SFF-CB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40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2101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119553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8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2" y="1441351"/>
            <a:ext cx="2685528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19" y="1441351"/>
            <a:ext cx="2685528" cy="1827580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C21F683-72E6-4F88-98A3-168CF5D90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delprosjekt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BEDB7FF7-A17D-444C-BC1E-872817346F9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512" y="1263254"/>
            <a:ext cx="5162550" cy="727450"/>
          </a:xfrm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8CC71455-81E5-43A3-9D21-4F12232927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82880" y="2011100"/>
            <a:ext cx="5963921" cy="2939519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nb-NO"/>
              <a:t>Ivaretar behovet for mer detaljert aktivitets- og styringsinformasjon</a:t>
            </a:r>
          </a:p>
          <a:p>
            <a:pPr marL="0" indent="0">
              <a:buNone/>
            </a:pPr>
            <a:endParaRPr lang="nb-NO"/>
          </a:p>
          <a:p>
            <a:r>
              <a:rPr lang="nb-NO" b="1"/>
              <a:t>Obligatorisk for alle transaksjoner, MÅ fylles ut</a:t>
            </a:r>
          </a:p>
          <a:p>
            <a:pPr lvl="1"/>
            <a:r>
              <a:rPr lang="nb-NO"/>
              <a:t>Når det konteres en verdi på denne dimensjonen kommer prosjekt automatisk.</a:t>
            </a:r>
          </a:p>
          <a:p>
            <a:r>
              <a:rPr lang="nb-NO"/>
              <a:t>Et delprosjekt kan kun knyttes til et prosjekt</a:t>
            </a:r>
          </a:p>
          <a:p>
            <a:r>
              <a:rPr lang="nb-NO"/>
              <a:t>Består av 9 siffer 	</a:t>
            </a:r>
          </a:p>
          <a:p>
            <a:pPr lvl="1"/>
            <a:r>
              <a:rPr lang="nb-NO"/>
              <a:t>De seks første er samme som prosjektet</a:t>
            </a:r>
          </a:p>
          <a:p>
            <a:pPr lvl="1"/>
            <a:r>
              <a:rPr lang="nb-NO"/>
              <a:t>De tre siste er løpenummer</a:t>
            </a:r>
          </a:p>
          <a:p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3126E5-1372-5678-0E43-EA9F5B740B03}"/>
              </a:ext>
            </a:extLst>
          </p:cNvPr>
          <p:cNvSpPr txBox="1"/>
          <p:nvPr/>
        </p:nvSpPr>
        <p:spPr>
          <a:xfrm>
            <a:off x="6259062" y="2679917"/>
            <a:ext cx="2834640" cy="1200329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delprosjek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delprosjektnummer</a:t>
            </a:r>
          </a:p>
        </p:txBody>
      </p:sp>
    </p:spTree>
    <p:extLst>
      <p:ext uri="{BB962C8B-B14F-4D97-AF65-F5344CB8AC3E}">
        <p14:creationId xmlns:p14="http://schemas.microsoft.com/office/powerpoint/2010/main" val="2656150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52AAED9-6043-5382-DD84-9F97BAB6C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 err="1"/>
              <a:t>Kontobruk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787FB34-F4DD-9ADE-9DA2-499FEBB4A5C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nb-NO"/>
              <a:t>Driftskostnader</a:t>
            </a:r>
          </a:p>
          <a:p>
            <a:pPr lvl="1"/>
            <a:r>
              <a:rPr lang="nb-NO" sz="2000"/>
              <a:t>Alle kostnader som tilhører den løpende driften</a:t>
            </a:r>
          </a:p>
          <a:p>
            <a:pPr lvl="1"/>
            <a:r>
              <a:rPr lang="nb-NO" sz="2000"/>
              <a:t>Kontoklasse 6xxx eller 7xxx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7EE6A31-6276-0F1F-7725-1888C5DB734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b-NO"/>
              <a:t>Investering – løsøre</a:t>
            </a:r>
          </a:p>
          <a:p>
            <a:pPr lvl="1"/>
            <a:r>
              <a:rPr lang="nb-NO" sz="2000"/>
              <a:t>Utstyr med levetid &gt; 3 år</a:t>
            </a:r>
          </a:p>
          <a:p>
            <a:pPr lvl="1"/>
            <a:r>
              <a:rPr lang="nb-NO" sz="2000" err="1"/>
              <a:t>Anskaffelskost</a:t>
            </a:r>
            <a:r>
              <a:rPr lang="nb-NO" sz="2000"/>
              <a:t> &gt; NOK </a:t>
            </a:r>
            <a:br>
              <a:rPr lang="nb-NO" sz="2000"/>
            </a:br>
            <a:r>
              <a:rPr lang="nb-NO" sz="2000"/>
              <a:t>50 000 </a:t>
            </a:r>
            <a:r>
              <a:rPr lang="nb-NO" sz="2000" err="1"/>
              <a:t>inkl</a:t>
            </a:r>
            <a:r>
              <a:rPr lang="nb-NO" sz="2000"/>
              <a:t> </a:t>
            </a:r>
            <a:r>
              <a:rPr lang="nb-NO" sz="2000" err="1"/>
              <a:t>mva</a:t>
            </a:r>
            <a:endParaRPr lang="nb-NO" sz="2000"/>
          </a:p>
          <a:p>
            <a:pPr lvl="1"/>
            <a:r>
              <a:rPr lang="nb-NO" sz="2000"/>
              <a:t>Unntak poolaktivering for pc og inventa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6822AFA-02CB-A02F-742D-B59781A088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880" y="3770271"/>
            <a:ext cx="3667327" cy="875489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78286B42-90E7-9F05-76B3-2FFE820EFA4A}"/>
              </a:ext>
            </a:extLst>
          </p:cNvPr>
          <p:cNvSpPr/>
          <p:nvPr/>
        </p:nvSpPr>
        <p:spPr>
          <a:xfrm>
            <a:off x="358268" y="3612471"/>
            <a:ext cx="564205" cy="1105304"/>
          </a:xfrm>
          <a:prstGeom prst="ellipse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811DEADF-73E8-4FA6-7762-E13771C1E2CA}"/>
              </a:ext>
            </a:extLst>
          </p:cNvPr>
          <p:cNvSpPr/>
          <p:nvPr/>
        </p:nvSpPr>
        <p:spPr>
          <a:xfrm>
            <a:off x="1021405" y="3334755"/>
            <a:ext cx="982494" cy="2176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Kontoklasse 6xxx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7CFEEB-5A0F-9379-50F2-6B7448864E3C}"/>
              </a:ext>
            </a:extLst>
          </p:cNvPr>
          <p:cNvCxnSpPr>
            <a:cxnSpLocks/>
            <a:stCxn id="8" idx="1"/>
            <a:endCxn id="6" idx="0"/>
          </p:cNvCxnSpPr>
          <p:nvPr/>
        </p:nvCxnSpPr>
        <p:spPr>
          <a:xfrm flipH="1">
            <a:off x="640371" y="3443584"/>
            <a:ext cx="381034" cy="168887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Tabell 3">
            <a:extLst>
              <a:ext uri="{FF2B5EF4-FFF2-40B4-BE49-F238E27FC236}">
                <a16:creationId xmlns:a16="http://schemas.microsoft.com/office/drawing/2014/main" id="{644B31A6-3686-3BA7-037B-D63448C909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775124"/>
              </p:ext>
            </p:extLst>
          </p:nvPr>
        </p:nvGraphicFramePr>
        <p:xfrm>
          <a:off x="4604241" y="3421621"/>
          <a:ext cx="4325110" cy="157278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62555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2162555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621773">
                <a:tc>
                  <a:txBody>
                    <a:bodyPr/>
                    <a:lstStyle/>
                    <a:p>
                      <a:r>
                        <a:rPr lang="nb-NO"/>
                        <a:t>Dagens løs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Løsning fra 01.01.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932707"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resultatet på 47xx – kon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balansen på 1xxx – ko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16195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473E55-3603-D086-E6E8-683E5CDA7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Anlegg under utførelse – byg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5EF8E7-EFDE-63CC-7358-942822AC609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nb-NO"/>
              <a:t>Vedlikehold</a:t>
            </a:r>
          </a:p>
          <a:p>
            <a:pPr lvl="1"/>
            <a:r>
              <a:rPr lang="nb-NO" sz="1600"/>
              <a:t>Kostnader som er nødvendig for å holde objektet i samme stand som da det var nytt </a:t>
            </a:r>
          </a:p>
          <a:p>
            <a:pPr lvl="1"/>
            <a:r>
              <a:rPr lang="nb-NO" sz="1600"/>
              <a:t>Kontoklasse 66xx Reparasjon og vedlikehold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207D405-6FA7-6A15-2A76-AB397C3F1E7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b-NO"/>
              <a:t>Påkostning</a:t>
            </a:r>
          </a:p>
          <a:p>
            <a:pPr lvl="1"/>
            <a:r>
              <a:rPr lang="nb-NO" sz="1600"/>
              <a:t>Kostnader som hever standarden på eiendommen</a:t>
            </a:r>
          </a:p>
          <a:p>
            <a:pPr lvl="1"/>
            <a:r>
              <a:rPr lang="nb-NO" sz="1600"/>
              <a:t>Eiendomsavdelingen må godkjenne dersom det skal være påkostning av bygget</a:t>
            </a:r>
          </a:p>
          <a:p>
            <a:pPr lvl="2"/>
            <a:r>
              <a:rPr lang="nb-NO" sz="1200"/>
              <a:t>Dialog med arealkontakten ved fakultet</a:t>
            </a:r>
          </a:p>
        </p:txBody>
      </p:sp>
      <p:graphicFrame>
        <p:nvGraphicFramePr>
          <p:cNvPr id="6" name="Tabell 3">
            <a:extLst>
              <a:ext uri="{FF2B5EF4-FFF2-40B4-BE49-F238E27FC236}">
                <a16:creationId xmlns:a16="http://schemas.microsoft.com/office/drawing/2014/main" id="{3379CC1A-4B67-A325-D639-CC0C9CD582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4655747"/>
              </p:ext>
            </p:extLst>
          </p:nvPr>
        </p:nvGraphicFramePr>
        <p:xfrm>
          <a:off x="4876799" y="3364482"/>
          <a:ext cx="4096510" cy="15849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48255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2048255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620577">
                <a:tc>
                  <a:txBody>
                    <a:bodyPr/>
                    <a:lstStyle/>
                    <a:p>
                      <a:r>
                        <a:rPr lang="nb-NO"/>
                        <a:t>Dagens løs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Løsning fra 01.01.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709231"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resultatet på 46xx – kon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balansen på 113x – ko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C448EBCF-2CCF-4A47-F0D3-C5A99A3FF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74" y="3513220"/>
            <a:ext cx="3675991" cy="1261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206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hlinkClick r:id="" action="ppaction://noaction"/>
            <a:extLst>
              <a:ext uri="{FF2B5EF4-FFF2-40B4-BE49-F238E27FC236}">
                <a16:creationId xmlns:a16="http://schemas.microsoft.com/office/drawing/2014/main" id="{C80EB732-6333-4697-BD66-5C728FA72474}"/>
              </a:ext>
            </a:extLst>
          </p:cNvPr>
          <p:cNvSpPr/>
          <p:nvPr/>
        </p:nvSpPr>
        <p:spPr>
          <a:xfrm>
            <a:off x="691979" y="3657601"/>
            <a:ext cx="982362" cy="5313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ysClr val="windowText" lastClr="000000"/>
                </a:solidFill>
              </a:rPr>
              <a:t>Dim0</a:t>
            </a:r>
          </a:p>
          <a:p>
            <a:pPr algn="ctr"/>
            <a:r>
              <a:rPr lang="nb-NO" sz="1200">
                <a:solidFill>
                  <a:sysClr val="windowText" lastClr="000000"/>
                </a:solidFill>
              </a:rPr>
              <a:t>Konto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D99600EE-785F-4791-94BB-BE7BF4CD8DA1}"/>
              </a:ext>
            </a:extLst>
          </p:cNvPr>
          <p:cNvSpPr/>
          <p:nvPr/>
        </p:nvSpPr>
        <p:spPr>
          <a:xfrm>
            <a:off x="2031451" y="3657601"/>
            <a:ext cx="982362" cy="5313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ysClr val="windowText" lastClr="000000"/>
                </a:solidFill>
              </a:rPr>
              <a:t>Dim1</a:t>
            </a:r>
          </a:p>
          <a:p>
            <a:pPr algn="ctr"/>
            <a:r>
              <a:rPr lang="nb-NO" sz="1200">
                <a:solidFill>
                  <a:sysClr val="windowText" lastClr="000000"/>
                </a:solidFill>
              </a:rPr>
              <a:t>Koststed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E3AB20A-FCB3-47B3-9F2C-BCC2489B4CC5}"/>
              </a:ext>
            </a:extLst>
          </p:cNvPr>
          <p:cNvSpPr/>
          <p:nvPr/>
        </p:nvSpPr>
        <p:spPr>
          <a:xfrm>
            <a:off x="3370923" y="3657601"/>
            <a:ext cx="982362" cy="5313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ysClr val="windowText" lastClr="000000"/>
                </a:solidFill>
              </a:rPr>
              <a:t>Dim2</a:t>
            </a:r>
          </a:p>
          <a:p>
            <a:pPr algn="ctr"/>
            <a:r>
              <a:rPr lang="nb-NO" sz="1200">
                <a:solidFill>
                  <a:sysClr val="windowText" lastClr="000000"/>
                </a:solidFill>
              </a:rPr>
              <a:t>Prosjekt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53618604-FE91-4E3C-8C2A-EFCF9BDE8308}"/>
              </a:ext>
            </a:extLst>
          </p:cNvPr>
          <p:cNvSpPr/>
          <p:nvPr/>
        </p:nvSpPr>
        <p:spPr>
          <a:xfrm>
            <a:off x="7389341" y="3657601"/>
            <a:ext cx="982362" cy="531341"/>
          </a:xfrm>
          <a:prstGeom prst="rect">
            <a:avLst/>
          </a:prstGeom>
          <a:pattFill prst="pct50">
            <a:fgClr>
              <a:srgbClr val="7FCBD5"/>
            </a:fgClr>
            <a:bgClr>
              <a:schemeClr val="bg1"/>
            </a:bgClr>
          </a:pattFill>
          <a:ln>
            <a:solidFill>
              <a:srgbClr val="7FCBD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ysClr val="windowText" lastClr="000000"/>
                </a:solidFill>
              </a:rPr>
              <a:t>Dim7</a:t>
            </a:r>
          </a:p>
          <a:p>
            <a:pPr algn="ctr"/>
            <a:r>
              <a:rPr lang="nb-NO" sz="1200">
                <a:solidFill>
                  <a:sysClr val="windowText" lastClr="000000"/>
                </a:solidFill>
              </a:rPr>
              <a:t>Bygg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51B9E03B-D161-4FDB-975A-B00278454BEF}"/>
              </a:ext>
            </a:extLst>
          </p:cNvPr>
          <p:cNvSpPr/>
          <p:nvPr/>
        </p:nvSpPr>
        <p:spPr>
          <a:xfrm>
            <a:off x="4710395" y="3657601"/>
            <a:ext cx="982362" cy="5313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ysClr val="windowText" lastClr="000000"/>
                </a:solidFill>
              </a:rPr>
              <a:t>Dim5</a:t>
            </a:r>
          </a:p>
          <a:p>
            <a:pPr algn="ctr"/>
            <a:r>
              <a:rPr lang="nb-NO" sz="1200">
                <a:solidFill>
                  <a:sysClr val="windowText" lastClr="000000"/>
                </a:solidFill>
              </a:rPr>
              <a:t>Delprosjekt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3343EA88-1E22-4C1B-AC18-E00D42C0BC42}"/>
              </a:ext>
            </a:extLst>
          </p:cNvPr>
          <p:cNvSpPr/>
          <p:nvPr/>
        </p:nvSpPr>
        <p:spPr>
          <a:xfrm>
            <a:off x="6049868" y="3657601"/>
            <a:ext cx="982362" cy="5313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ysClr val="windowText" lastClr="000000"/>
                </a:solidFill>
              </a:rPr>
              <a:t>Dim6</a:t>
            </a:r>
          </a:p>
          <a:p>
            <a:pPr algn="ctr"/>
            <a:r>
              <a:rPr lang="nb-NO" sz="1200">
                <a:solidFill>
                  <a:sysClr val="windowText" lastClr="000000"/>
                </a:solidFill>
              </a:rPr>
              <a:t>Anlegg</a:t>
            </a:r>
          </a:p>
        </p:txBody>
      </p:sp>
      <p:sp>
        <p:nvSpPr>
          <p:cNvPr id="10" name="Rektangel 9">
            <a:hlinkClick r:id="" action="ppaction://noaction"/>
            <a:extLst>
              <a:ext uri="{FF2B5EF4-FFF2-40B4-BE49-F238E27FC236}">
                <a16:creationId xmlns:a16="http://schemas.microsoft.com/office/drawing/2014/main" id="{7B749B4D-605E-42F9-BEF0-EDB7F4297E6D}"/>
              </a:ext>
            </a:extLst>
          </p:cNvPr>
          <p:cNvSpPr/>
          <p:nvPr/>
        </p:nvSpPr>
        <p:spPr>
          <a:xfrm>
            <a:off x="6049868" y="912024"/>
            <a:ext cx="982362" cy="355258"/>
          </a:xfrm>
          <a:prstGeom prst="rect">
            <a:avLst/>
          </a:prstGeom>
          <a:pattFill prst="smCheck">
            <a:fgClr>
              <a:srgbClr val="F39FA9"/>
            </a:fgClr>
            <a:bgClr>
              <a:schemeClr val="bg1"/>
            </a:bgClr>
          </a:pattFill>
          <a:ln>
            <a:solidFill>
              <a:srgbClr val="F39FA9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ysClr val="windowText" lastClr="000000"/>
                </a:solidFill>
              </a:rPr>
              <a:t>Plassering</a:t>
            </a:r>
          </a:p>
        </p:txBody>
      </p:sp>
      <p:sp>
        <p:nvSpPr>
          <p:cNvPr id="11" name="Rektangel 10">
            <a:hlinkClick r:id="" action="ppaction://noaction"/>
            <a:extLst>
              <a:ext uri="{FF2B5EF4-FFF2-40B4-BE49-F238E27FC236}">
                <a16:creationId xmlns:a16="http://schemas.microsoft.com/office/drawing/2014/main" id="{3FEEEA4E-C82C-4F0E-9DAC-66713247B11E}"/>
              </a:ext>
            </a:extLst>
          </p:cNvPr>
          <p:cNvSpPr/>
          <p:nvPr/>
        </p:nvSpPr>
        <p:spPr>
          <a:xfrm>
            <a:off x="6049868" y="1953701"/>
            <a:ext cx="982362" cy="355258"/>
          </a:xfrm>
          <a:prstGeom prst="rect">
            <a:avLst/>
          </a:prstGeom>
          <a:pattFill prst="smCheck">
            <a:fgClr>
              <a:srgbClr val="F39FA9"/>
            </a:fgClr>
            <a:bgClr>
              <a:schemeClr val="bg1"/>
            </a:bgClr>
          </a:pattFill>
          <a:ln>
            <a:solidFill>
              <a:srgbClr val="F39FA9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err="1">
                <a:solidFill>
                  <a:schemeClr val="tx1"/>
                </a:solidFill>
              </a:rPr>
              <a:t>Serienr</a:t>
            </a:r>
            <a:r>
              <a:rPr lang="nb-NO" sz="12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0EFDBC49-9826-41B0-BC7A-5F3C1D70D020}"/>
              </a:ext>
            </a:extLst>
          </p:cNvPr>
          <p:cNvSpPr/>
          <p:nvPr/>
        </p:nvSpPr>
        <p:spPr>
          <a:xfrm>
            <a:off x="7241059" y="4429897"/>
            <a:ext cx="1902941" cy="7136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12" name="Rektangel 11">
            <a:hlinkClick r:id="" action="ppaction://noaction"/>
            <a:extLst>
              <a:ext uri="{FF2B5EF4-FFF2-40B4-BE49-F238E27FC236}">
                <a16:creationId xmlns:a16="http://schemas.microsoft.com/office/drawing/2014/main" id="{EFED693F-6735-4D9C-B35A-3324E45B4F45}"/>
              </a:ext>
            </a:extLst>
          </p:cNvPr>
          <p:cNvSpPr/>
          <p:nvPr/>
        </p:nvSpPr>
        <p:spPr>
          <a:xfrm>
            <a:off x="6049868" y="1432863"/>
            <a:ext cx="982362" cy="355258"/>
          </a:xfrm>
          <a:prstGeom prst="rect">
            <a:avLst/>
          </a:prstGeom>
          <a:pattFill prst="smCheck">
            <a:fgClr>
              <a:srgbClr val="F39FA9"/>
            </a:fgClr>
            <a:bgClr>
              <a:schemeClr val="bg1"/>
            </a:bgClr>
          </a:pattFill>
          <a:ln>
            <a:solidFill>
              <a:srgbClr val="F39FA9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err="1">
                <a:solidFill>
                  <a:schemeClr val="tx1"/>
                </a:solidFill>
              </a:rPr>
              <a:t>Servicetag</a:t>
            </a:r>
            <a:endParaRPr lang="nb-NO" sz="1200">
              <a:solidFill>
                <a:schemeClr val="tx1"/>
              </a:solidFill>
            </a:endParaRPr>
          </a:p>
        </p:txBody>
      </p:sp>
      <p:sp>
        <p:nvSpPr>
          <p:cNvPr id="13" name="Rektangel 12">
            <a:hlinkClick r:id="" action="ppaction://noaction"/>
            <a:extLst>
              <a:ext uri="{FF2B5EF4-FFF2-40B4-BE49-F238E27FC236}">
                <a16:creationId xmlns:a16="http://schemas.microsoft.com/office/drawing/2014/main" id="{67F9C9B3-088C-4AB2-8D60-BEC4154ED963}"/>
              </a:ext>
            </a:extLst>
          </p:cNvPr>
          <p:cNvSpPr/>
          <p:nvPr/>
        </p:nvSpPr>
        <p:spPr>
          <a:xfrm>
            <a:off x="6049868" y="2995377"/>
            <a:ext cx="982362" cy="3552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Eiersted</a:t>
            </a:r>
          </a:p>
        </p:txBody>
      </p:sp>
      <p:sp>
        <p:nvSpPr>
          <p:cNvPr id="14" name="Rektangel 13">
            <a:hlinkClick r:id="" action="ppaction://noaction"/>
            <a:extLst>
              <a:ext uri="{FF2B5EF4-FFF2-40B4-BE49-F238E27FC236}">
                <a16:creationId xmlns:a16="http://schemas.microsoft.com/office/drawing/2014/main" id="{DB0E030D-E338-4F93-A332-5C10DEA83F84}"/>
              </a:ext>
            </a:extLst>
          </p:cNvPr>
          <p:cNvSpPr/>
          <p:nvPr/>
        </p:nvSpPr>
        <p:spPr>
          <a:xfrm>
            <a:off x="6049868" y="2474539"/>
            <a:ext cx="982362" cy="355258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err="1">
                <a:solidFill>
                  <a:schemeClr val="tx1"/>
                </a:solidFill>
              </a:rPr>
              <a:t>Utstyrsgrp</a:t>
            </a:r>
            <a:r>
              <a:rPr lang="nb-NO" sz="120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5" name="Rektangel 14">
            <a:hlinkClick r:id="" action="ppaction://noaction"/>
            <a:extLst>
              <a:ext uri="{FF2B5EF4-FFF2-40B4-BE49-F238E27FC236}">
                <a16:creationId xmlns:a16="http://schemas.microsoft.com/office/drawing/2014/main" id="{9AC8E784-226A-4C53-8613-2FF465B33911}"/>
              </a:ext>
            </a:extLst>
          </p:cNvPr>
          <p:cNvSpPr/>
          <p:nvPr/>
        </p:nvSpPr>
        <p:spPr>
          <a:xfrm>
            <a:off x="6049868" y="4495908"/>
            <a:ext cx="982362" cy="355258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err="1">
                <a:solidFill>
                  <a:schemeClr val="bg1"/>
                </a:solidFill>
              </a:rPr>
              <a:t>Anleggsgrp</a:t>
            </a:r>
            <a:r>
              <a:rPr lang="nb-NO" sz="1200">
                <a:solidFill>
                  <a:schemeClr val="bg1"/>
                </a:solidFill>
              </a:rPr>
              <a:t>.</a:t>
            </a:r>
          </a:p>
        </p:txBody>
      </p:sp>
      <p:cxnSp>
        <p:nvCxnSpPr>
          <p:cNvPr id="16" name="Rett pilkobling 15">
            <a:extLst>
              <a:ext uri="{FF2B5EF4-FFF2-40B4-BE49-F238E27FC236}">
                <a16:creationId xmlns:a16="http://schemas.microsoft.com/office/drawing/2014/main" id="{09E8EB44-6F50-494F-AA69-A5CAB0691723}"/>
              </a:ext>
            </a:extLst>
          </p:cNvPr>
          <p:cNvCxnSpPr>
            <a:stCxn id="8" idx="1"/>
            <a:endCxn id="6" idx="3"/>
          </p:cNvCxnSpPr>
          <p:nvPr/>
        </p:nvCxnSpPr>
        <p:spPr>
          <a:xfrm flipH="1">
            <a:off x="4353286" y="3923271"/>
            <a:ext cx="35711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</p:cxnSp>
      <p:cxnSp>
        <p:nvCxnSpPr>
          <p:cNvPr id="17" name="Kobling: vinkel 16">
            <a:extLst>
              <a:ext uri="{FF2B5EF4-FFF2-40B4-BE49-F238E27FC236}">
                <a16:creationId xmlns:a16="http://schemas.microsoft.com/office/drawing/2014/main" id="{F5392D95-2C55-4999-A418-E9BFAFC69A95}"/>
              </a:ext>
            </a:extLst>
          </p:cNvPr>
          <p:cNvCxnSpPr>
            <a:stCxn id="5" idx="0"/>
            <a:endCxn id="13" idx="1"/>
          </p:cNvCxnSpPr>
          <p:nvPr/>
        </p:nvCxnSpPr>
        <p:spPr>
          <a:xfrm rot="5400000" flipH="1" flipV="1">
            <a:off x="4043952" y="1651686"/>
            <a:ext cx="484595" cy="3527236"/>
          </a:xfrm>
          <a:prstGeom prst="bentConnector2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ittel 1">
            <a:extLst>
              <a:ext uri="{FF2B5EF4-FFF2-40B4-BE49-F238E27FC236}">
                <a16:creationId xmlns:a16="http://schemas.microsoft.com/office/drawing/2014/main" id="{3B0C9016-14FC-4C92-9503-A5F3B606085A}"/>
              </a:ext>
            </a:extLst>
          </p:cNvPr>
          <p:cNvSpPr txBox="1">
            <a:spLocks/>
          </p:cNvSpPr>
          <p:nvPr/>
        </p:nvSpPr>
        <p:spPr>
          <a:xfrm>
            <a:off x="376246" y="927337"/>
            <a:ext cx="5124851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3300"/>
              <a:t>Anleggsmodell BOTT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2C4911B9-4D4B-44D7-85DB-1E142A5BD2C9}"/>
              </a:ext>
            </a:extLst>
          </p:cNvPr>
          <p:cNvSpPr txBox="1"/>
          <p:nvPr/>
        </p:nvSpPr>
        <p:spPr>
          <a:xfrm>
            <a:off x="2111771" y="4662510"/>
            <a:ext cx="27174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900">
                <a:solidFill>
                  <a:schemeClr val="bg1">
                    <a:lumMod val="50000"/>
                  </a:schemeClr>
                </a:solidFill>
              </a:rPr>
              <a:t>Én til én-forhold, der konto utleder anleggsgruppe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23A82361-80D3-42C0-957F-1ED52EE84809}"/>
              </a:ext>
            </a:extLst>
          </p:cNvPr>
          <p:cNvSpPr txBox="1"/>
          <p:nvPr/>
        </p:nvSpPr>
        <p:spPr>
          <a:xfrm>
            <a:off x="3132621" y="2963418"/>
            <a:ext cx="19672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900">
                <a:solidFill>
                  <a:schemeClr val="bg1">
                    <a:lumMod val="50000"/>
                  </a:schemeClr>
                </a:solidFill>
              </a:rPr>
              <a:t>Forslag lik eiersted, kan overstyres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3DC58A7C-BB76-4447-9DE7-EAAD57F1E5BD}"/>
              </a:ext>
            </a:extLst>
          </p:cNvPr>
          <p:cNvSpPr/>
          <p:nvPr/>
        </p:nvSpPr>
        <p:spPr>
          <a:xfrm>
            <a:off x="6049868" y="408487"/>
            <a:ext cx="982362" cy="355258"/>
          </a:xfrm>
          <a:prstGeom prst="rect">
            <a:avLst/>
          </a:prstGeom>
          <a:pattFill prst="pct70">
            <a:fgClr>
              <a:srgbClr val="FFCCCC"/>
            </a:fgClr>
            <a:bgClr>
              <a:schemeClr val="bg1"/>
            </a:bgClr>
          </a:pattFill>
          <a:ln w="9525">
            <a:solidFill>
              <a:srgbClr val="FFCCCC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ysClr val="windowText" lastClr="000000"/>
                </a:solidFill>
              </a:rPr>
              <a:t>Tillegg</a:t>
            </a:r>
          </a:p>
        </p:txBody>
      </p:sp>
      <p:cxnSp>
        <p:nvCxnSpPr>
          <p:cNvPr id="22" name="Kobling: vinkel 21">
            <a:extLst>
              <a:ext uri="{FF2B5EF4-FFF2-40B4-BE49-F238E27FC236}">
                <a16:creationId xmlns:a16="http://schemas.microsoft.com/office/drawing/2014/main" id="{06949FEE-F13C-4638-B82E-4E6EBF6946EA}"/>
              </a:ext>
            </a:extLst>
          </p:cNvPr>
          <p:cNvCxnSpPr>
            <a:stCxn id="4" idx="2"/>
            <a:endCxn id="15" idx="1"/>
          </p:cNvCxnSpPr>
          <p:nvPr/>
        </p:nvCxnSpPr>
        <p:spPr>
          <a:xfrm rot="16200000" flipH="1">
            <a:off x="3374217" y="1997885"/>
            <a:ext cx="484595" cy="4866708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kobling 23">
            <a:extLst>
              <a:ext uri="{FF2B5EF4-FFF2-40B4-BE49-F238E27FC236}">
                <a16:creationId xmlns:a16="http://schemas.microsoft.com/office/drawing/2014/main" id="{8B28F2F1-0D15-480C-90E9-13ACBE604D65}"/>
              </a:ext>
            </a:extLst>
          </p:cNvPr>
          <p:cNvCxnSpPr>
            <a:stCxn id="8" idx="1"/>
            <a:endCxn id="6" idx="3"/>
          </p:cNvCxnSpPr>
          <p:nvPr/>
        </p:nvCxnSpPr>
        <p:spPr>
          <a:xfrm flipH="1">
            <a:off x="4353286" y="3923271"/>
            <a:ext cx="357110" cy="0"/>
          </a:xfrm>
          <a:prstGeom prst="straightConnector1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02860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innkjøp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Mer om mva 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</a:t>
                      </a:r>
                      <a:r>
                        <a:rPr lang="nb-NO" sz="1400" b="1" i="0" u="none" strike="noStrike" noProof="0">
                          <a:latin typeface="Arial"/>
                        </a:rPr>
                        <a:t>opprette innkjøpsforespørsel, utføre vare-/tjenestemottak, og fakturabehandling</a:t>
                      </a:r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18350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FE715FB-3C9E-534F-D347-5F6EC2A4E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935" y="59376"/>
            <a:ext cx="8820953" cy="894733"/>
          </a:xfrm>
        </p:spPr>
        <p:txBody>
          <a:bodyPr/>
          <a:lstStyle/>
          <a:p>
            <a:br>
              <a:rPr lang="nb-NO" sz="2400"/>
            </a:br>
            <a:r>
              <a:rPr lang="nb-NO" sz="2800"/>
              <a:t>Registrering av </a:t>
            </a:r>
            <a:r>
              <a:rPr lang="nb-NO" sz="2800" err="1"/>
              <a:t>mva</a:t>
            </a:r>
            <a:r>
              <a:rPr lang="nb-NO" sz="2800"/>
              <a:t> på innkjøpsforespørs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9D01060-14BD-87EB-A07D-C5F1CEB1F5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algn="l">
              <a:buFont typeface="Arial" panose="020B0604020202020204" pitchFamily="34" charset="0"/>
              <a:buChar char="•"/>
            </a:pPr>
            <a:endParaRPr lang="nb-NO" b="0" i="0">
              <a:solidFill>
                <a:srgbClr val="222222"/>
              </a:solidFill>
              <a:effectLst/>
              <a:latin typeface="myriad-pro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Merverdiavgifts behandling på bestillingen må være riktig slik at </a:t>
            </a:r>
            <a:r>
              <a:rPr lang="nb-NO">
                <a:solidFill>
                  <a:srgbClr val="222222"/>
                </a:solidFill>
                <a:latin typeface="myriad-pro"/>
              </a:rPr>
              <a:t>innkjøpsordre</a:t>
            </a: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 matcher mot faktura fra leverandø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Korrekt kostnad blir anvist (hovedsakelig er </a:t>
            </a:r>
            <a:r>
              <a:rPr lang="nb-NO" b="0" i="0" err="1">
                <a:solidFill>
                  <a:srgbClr val="222222"/>
                </a:solidFill>
                <a:effectLst/>
                <a:latin typeface="myriad-pro"/>
              </a:rPr>
              <a:t>mva</a:t>
            </a: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 en kostnad i regnskapet for NTNU)</a:t>
            </a:r>
            <a:r>
              <a:rPr lang="nb-NO">
                <a:solidFill>
                  <a:srgbClr val="222222"/>
                </a:solidFill>
                <a:latin typeface="myriad-pro"/>
              </a:rPr>
              <a:t> </a:t>
            </a:r>
            <a:endParaRPr lang="nb-NO" b="0" i="0">
              <a:solidFill>
                <a:srgbClr val="222222"/>
              </a:solidFill>
              <a:effectLst/>
              <a:latin typeface="myriad-pro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Rapportering til skattemyndighetene blir korrekt</a:t>
            </a:r>
          </a:p>
          <a:p>
            <a:pPr>
              <a:buFont typeface="Arial" panose="020B0604020202020204" pitchFamily="34" charset="0"/>
              <a:buChar char="•"/>
            </a:pPr>
            <a:endParaRPr lang="nb-NO" b="0" i="0">
              <a:solidFill>
                <a:srgbClr val="222222"/>
              </a:solidFill>
              <a:effectLst/>
              <a:latin typeface="myriad-pro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nb-NO" b="0" i="0">
              <a:solidFill>
                <a:srgbClr val="222222"/>
              </a:solidFill>
              <a:effectLst/>
              <a:latin typeface="myriad-pro"/>
            </a:endParaRP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74111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204013-69A2-6245-A7DC-84E8FD895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320" y="280907"/>
            <a:ext cx="7905028" cy="586957"/>
          </a:xfrm>
        </p:spPr>
        <p:txBody>
          <a:bodyPr/>
          <a:lstStyle/>
          <a:p>
            <a:r>
              <a:rPr lang="nb-NO" sz="3200"/>
              <a:t>Registrering av </a:t>
            </a:r>
            <a:r>
              <a:rPr lang="nb-NO" sz="3200" err="1"/>
              <a:t>mva</a:t>
            </a:r>
            <a:r>
              <a:rPr lang="nb-NO" sz="3200"/>
              <a:t> ko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5A21424-D634-E445-A8B0-6C748C138F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6826" y="1142564"/>
            <a:ext cx="6172200" cy="3426550"/>
          </a:xfrm>
        </p:spPr>
        <p:txBody>
          <a:bodyPr>
            <a:normAutofit/>
          </a:bodyPr>
          <a:lstStyle/>
          <a:p>
            <a:pPr marL="257175" lvl="2" indent="-257175"/>
            <a:r>
              <a:rPr lang="nb-NO"/>
              <a:t>Hvilken MVA-sats (%) ved opprettelse av innkjøpsforespørsel</a:t>
            </a:r>
          </a:p>
          <a:p>
            <a:pPr marL="714375" lvl="3" indent="-257175"/>
            <a:r>
              <a:rPr lang="nb-NO"/>
              <a:t>25 %</a:t>
            </a:r>
          </a:p>
          <a:p>
            <a:pPr marL="714375" lvl="3" indent="-257175"/>
            <a:r>
              <a:rPr lang="nb-NO"/>
              <a:t>15%</a:t>
            </a:r>
          </a:p>
          <a:p>
            <a:pPr marL="714375" lvl="3" indent="-257175"/>
            <a:r>
              <a:rPr lang="nb-NO"/>
              <a:t>12%</a:t>
            </a:r>
          </a:p>
          <a:p>
            <a:pPr marL="714375" lvl="3" indent="-257175"/>
            <a:r>
              <a:rPr lang="nb-NO"/>
              <a:t>  0%</a:t>
            </a:r>
          </a:p>
          <a:p>
            <a:pPr marL="257175" lvl="2" indent="-257175"/>
            <a:r>
              <a:rPr lang="nb-NO"/>
              <a:t>Innkjøpsforespørsel til Norsk Leverandør?</a:t>
            </a:r>
          </a:p>
          <a:p>
            <a:pPr marL="257175" lvl="2" indent="-257175"/>
            <a:r>
              <a:rPr lang="nb-NO"/>
              <a:t>Innkjøpsforespørsel til Utenlandsk Leverandør?</a:t>
            </a:r>
          </a:p>
          <a:p>
            <a:pPr marL="714375" lvl="3" indent="-257175"/>
            <a:r>
              <a:rPr lang="nb-NO"/>
              <a:t>Er anskaffelsen en vare eller en tjeneste</a:t>
            </a:r>
          </a:p>
          <a:p>
            <a:pPr marL="257175" lvl="2" indent="-257175"/>
            <a:r>
              <a:rPr lang="nb-NO"/>
              <a:t>Hvis utenlandsk leverandør er registrert for norsk MVA (NUF – Norskregistrert utenlandsk foretak)</a:t>
            </a:r>
          </a:p>
          <a:p>
            <a:pPr marL="257175" lvl="2" indent="-257175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20897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C9D212F-50E9-321C-FE68-3821F8EBF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525401"/>
          </a:xfrm>
        </p:spPr>
        <p:txBody>
          <a:bodyPr/>
          <a:lstStyle/>
          <a:p>
            <a:r>
              <a:rPr lang="nb-NO" sz="2800" err="1"/>
              <a:t>Mva</a:t>
            </a:r>
            <a:r>
              <a:rPr lang="nb-NO" sz="2800"/>
              <a:t> - koder i Unit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CD6B14-C917-C6ED-B3E1-4880EA231B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350" y="946851"/>
            <a:ext cx="6172200" cy="3789553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nb-NO" sz="1600"/>
              <a:t>Kostnader og investeringer (kjøp)</a:t>
            </a:r>
          </a:p>
          <a:p>
            <a:pPr marL="0" indent="0">
              <a:buNone/>
            </a:pPr>
            <a:r>
              <a:rPr lang="nb-NO" sz="1400"/>
              <a:t>Innkjøpsforespørsel NORSKE leverandører</a:t>
            </a:r>
          </a:p>
        </p:txBody>
      </p:sp>
      <p:graphicFrame>
        <p:nvGraphicFramePr>
          <p:cNvPr id="6" name="Tabell 6">
            <a:extLst>
              <a:ext uri="{FF2B5EF4-FFF2-40B4-BE49-F238E27FC236}">
                <a16:creationId xmlns:a16="http://schemas.microsoft.com/office/drawing/2014/main" id="{3E7108DF-B46D-22BF-560E-6CA89AD7BA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555819"/>
              </p:ext>
            </p:extLst>
          </p:nvPr>
        </p:nvGraphicFramePr>
        <p:xfrm>
          <a:off x="696470" y="1727456"/>
          <a:ext cx="6141230" cy="31177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3023">
                  <a:extLst>
                    <a:ext uri="{9D8B030D-6E8A-4147-A177-3AD203B41FA5}">
                      <a16:colId xmlns:a16="http://schemas.microsoft.com/office/drawing/2014/main" val="3087556225"/>
                    </a:ext>
                  </a:extLst>
                </a:gridCol>
                <a:gridCol w="1683469">
                  <a:extLst>
                    <a:ext uri="{9D8B030D-6E8A-4147-A177-3AD203B41FA5}">
                      <a16:colId xmlns:a16="http://schemas.microsoft.com/office/drawing/2014/main" val="2674523734"/>
                    </a:ext>
                  </a:extLst>
                </a:gridCol>
                <a:gridCol w="1228246">
                  <a:extLst>
                    <a:ext uri="{9D8B030D-6E8A-4147-A177-3AD203B41FA5}">
                      <a16:colId xmlns:a16="http://schemas.microsoft.com/office/drawing/2014/main" val="579894249"/>
                    </a:ext>
                  </a:extLst>
                </a:gridCol>
                <a:gridCol w="651289">
                  <a:extLst>
                    <a:ext uri="{9D8B030D-6E8A-4147-A177-3AD203B41FA5}">
                      <a16:colId xmlns:a16="http://schemas.microsoft.com/office/drawing/2014/main" val="1533669522"/>
                    </a:ext>
                  </a:extLst>
                </a:gridCol>
                <a:gridCol w="1805203">
                  <a:extLst>
                    <a:ext uri="{9D8B030D-6E8A-4147-A177-3AD203B41FA5}">
                      <a16:colId xmlns:a16="http://schemas.microsoft.com/office/drawing/2014/main" val="2660132291"/>
                    </a:ext>
                  </a:extLst>
                </a:gridCol>
              </a:tblGrid>
              <a:tr h="25860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- KODE Unit 4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ksempel 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mmel MVA- kode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2467602554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I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25% MVA uten fradragsrett 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dinære kjøp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07504571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1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mat til egen bruk (ikke servering)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630217250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12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transporttjenester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907747443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N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25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rer eller 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57443866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med 15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mat for direkte videresalg (ikke servering)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134419341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tjenester med 12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transport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1749724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uten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øker til eget bibliote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757379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12589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4CB5B7-1A19-BC1A-A84F-CDF1C0071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Mva</a:t>
            </a:r>
            <a:r>
              <a:rPr lang="nb-NO"/>
              <a:t> – koder i Unit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ED602EE-0EA9-20D0-12D1-12F9144F7E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2000"/>
              <a:t>Kostnader og investeringer (kjøp)</a:t>
            </a:r>
          </a:p>
          <a:p>
            <a:pPr marL="0" indent="0">
              <a:buNone/>
            </a:pPr>
            <a:r>
              <a:rPr lang="nb-NO" sz="1600"/>
              <a:t>Faktura uten innkjøpsordre norske leverandører</a:t>
            </a:r>
          </a:p>
          <a:p>
            <a:pPr marL="0" indent="0">
              <a:buNone/>
            </a:pPr>
            <a:endParaRPr lang="nb-NO"/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BD506242-446A-B680-70F7-9F8E1E9842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2068037"/>
              </p:ext>
            </p:extLst>
          </p:nvPr>
        </p:nvGraphicFramePr>
        <p:xfrm>
          <a:off x="512683" y="1931373"/>
          <a:ext cx="6141230" cy="23008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3023">
                  <a:extLst>
                    <a:ext uri="{9D8B030D-6E8A-4147-A177-3AD203B41FA5}">
                      <a16:colId xmlns:a16="http://schemas.microsoft.com/office/drawing/2014/main" val="1674458048"/>
                    </a:ext>
                  </a:extLst>
                </a:gridCol>
                <a:gridCol w="1683469">
                  <a:extLst>
                    <a:ext uri="{9D8B030D-6E8A-4147-A177-3AD203B41FA5}">
                      <a16:colId xmlns:a16="http://schemas.microsoft.com/office/drawing/2014/main" val="4183780588"/>
                    </a:ext>
                  </a:extLst>
                </a:gridCol>
                <a:gridCol w="1228246">
                  <a:extLst>
                    <a:ext uri="{9D8B030D-6E8A-4147-A177-3AD203B41FA5}">
                      <a16:colId xmlns:a16="http://schemas.microsoft.com/office/drawing/2014/main" val="864320901"/>
                    </a:ext>
                  </a:extLst>
                </a:gridCol>
                <a:gridCol w="651289">
                  <a:extLst>
                    <a:ext uri="{9D8B030D-6E8A-4147-A177-3AD203B41FA5}">
                      <a16:colId xmlns:a16="http://schemas.microsoft.com/office/drawing/2014/main" val="2507061849"/>
                    </a:ext>
                  </a:extLst>
                </a:gridCol>
                <a:gridCol w="1805203">
                  <a:extLst>
                    <a:ext uri="{9D8B030D-6E8A-4147-A177-3AD203B41FA5}">
                      <a16:colId xmlns:a16="http://schemas.microsoft.com/office/drawing/2014/main" val="829066044"/>
                    </a:ext>
                  </a:extLst>
                </a:gridCol>
              </a:tblGrid>
              <a:tr h="25860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- KODE Unit 4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ksempel 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mmel MVA- kode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2753962458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dinære kjøp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488013483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25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rer eller 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900778881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M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med 15 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mat for direkte videresalg (ikke servering)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61616880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R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tjenester med 12 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transport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56859454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fritatt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bøker til eget bibliote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970671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29157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A0F01EB-7297-699D-8DB3-9F015AEED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525401"/>
          </a:xfrm>
        </p:spPr>
        <p:txBody>
          <a:bodyPr/>
          <a:lstStyle/>
          <a:p>
            <a:r>
              <a:rPr lang="nb-NO" sz="2800"/>
              <a:t>Beslutnings-tre kjøp i Norge</a:t>
            </a:r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274E2068-7F46-D2DC-7220-79EFC545D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782C321F-F8D2-1336-2B96-722D96609A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0347794"/>
              </p:ext>
            </p:extLst>
          </p:nvPr>
        </p:nvGraphicFramePr>
        <p:xfrm>
          <a:off x="1071418" y="946851"/>
          <a:ext cx="6981582" cy="3730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6B21D3EB-608C-CD70-7205-66F3F04A6295}"/>
              </a:ext>
            </a:extLst>
          </p:cNvPr>
          <p:cNvCxnSpPr>
            <a:cxnSpLocks/>
          </p:cNvCxnSpPr>
          <p:nvPr/>
        </p:nvCxnSpPr>
        <p:spPr>
          <a:xfrm>
            <a:off x="4076454" y="3526340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57690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81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0718128"/>
              </p:ext>
            </p:extLst>
          </p:nvPr>
        </p:nvGraphicFramePr>
        <p:xfrm>
          <a:off x="423867" y="1041004"/>
          <a:ext cx="8106357" cy="35679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06357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bg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innkjøp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536509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opprette innkjøpsforespørsel, utføre vare-/tjenestemottak, og fakturabehandl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7519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629419B-FB3A-6BEC-DD0E-D62DE7E94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188" y="105771"/>
            <a:ext cx="8617130" cy="956288"/>
          </a:xfrm>
        </p:spPr>
        <p:txBody>
          <a:bodyPr/>
          <a:lstStyle/>
          <a:p>
            <a:r>
              <a:rPr lang="nb-NO" sz="2800"/>
              <a:t>Eksempel på </a:t>
            </a:r>
            <a:r>
              <a:rPr lang="nb-NO" sz="2800" err="1"/>
              <a:t>mva</a:t>
            </a:r>
            <a:r>
              <a:rPr lang="nb-NO" sz="2800"/>
              <a:t>-koder til norske leverandører med og uten innkjøpsordre</a:t>
            </a:r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B7F914F9-93EB-95AD-D192-AD33733CC78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86965724"/>
              </p:ext>
            </p:extLst>
          </p:nvPr>
        </p:nvGraphicFramePr>
        <p:xfrm>
          <a:off x="417095" y="1203070"/>
          <a:ext cx="5994213" cy="3249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2036">
                  <a:extLst>
                    <a:ext uri="{9D8B030D-6E8A-4147-A177-3AD203B41FA5}">
                      <a16:colId xmlns:a16="http://schemas.microsoft.com/office/drawing/2014/main" val="4035450186"/>
                    </a:ext>
                  </a:extLst>
                </a:gridCol>
                <a:gridCol w="1984647">
                  <a:extLst>
                    <a:ext uri="{9D8B030D-6E8A-4147-A177-3AD203B41FA5}">
                      <a16:colId xmlns:a16="http://schemas.microsoft.com/office/drawing/2014/main" val="3941054923"/>
                    </a:ext>
                  </a:extLst>
                </a:gridCol>
                <a:gridCol w="2077530">
                  <a:extLst>
                    <a:ext uri="{9D8B030D-6E8A-4147-A177-3AD203B41FA5}">
                      <a16:colId xmlns:a16="http://schemas.microsoft.com/office/drawing/2014/main" val="1209192735"/>
                    </a:ext>
                  </a:extLst>
                </a:gridCol>
              </a:tblGrid>
              <a:tr h="45688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Ulike kjøp</a:t>
                      </a:r>
                      <a:endParaRPr lang="nb-NO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jøp med innkjøpsordre </a:t>
                      </a:r>
                      <a:endParaRPr lang="nb-NO" sz="8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Kjøp uten innkjøpsordre</a:t>
                      </a:r>
                      <a:endParaRPr lang="nb-NO" sz="8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77286779"/>
                  </a:ext>
                </a:extLst>
              </a:tr>
              <a:tr h="907147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nb-NO" sz="1000" b="0" i="0" u="none">
                          <a:solidFill>
                            <a:schemeClr val="tx1"/>
                          </a:solidFill>
                        </a:rPr>
                        <a:t>Ordinært kjøp til egen bruk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6580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Forbruks- og driftsmateriell, lab./verksted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6581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Gass og kjemikalier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6583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Undervisningsmateriell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6585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Driftsrekvisita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X1 – Kjøp av varer eller tjenester med 25% uten fradragsret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00 – Kjøp av varer eller tjenester uten fradragsret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29276785"/>
                  </a:ext>
                </a:extLst>
              </a:tr>
              <a:tr h="668773">
                <a:tc>
                  <a:txBody>
                    <a:bodyPr/>
                    <a:lstStyle/>
                    <a:p>
                      <a:r>
                        <a:rPr lang="nb-NO" sz="1000" b="0" i="0" u="none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jøp av mat til egen bruk, ikke servering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800"/>
                        <a:t>6861 Servering ved møter, Catering</a:t>
                      </a:r>
                    </a:p>
                    <a:p>
                      <a:endParaRPr lang="nb-NO" sz="10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X2 – Kjøp av varer eller tjenester med 15 % </a:t>
                      </a:r>
                      <a:r>
                        <a:rPr lang="nb-NO" sz="1000" err="1"/>
                        <a:t>mva</a:t>
                      </a:r>
                      <a:r>
                        <a:rPr lang="nb-NO" sz="1000"/>
                        <a:t> uten fradragsret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00 – Kjøp av varer eller tjenester uten fradragsret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95002387"/>
                  </a:ext>
                </a:extLst>
              </a:tr>
              <a:tr h="940422">
                <a:tc>
                  <a:txBody>
                    <a:bodyPr/>
                    <a:lstStyle/>
                    <a:p>
                      <a:r>
                        <a:rPr lang="nb-NO" sz="1000"/>
                        <a:t>Kjøp av varer eller tjenester for direkte videresal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800"/>
                        <a:t>4301 Innkjøp av varer for videresalg fradragsberettiget Eks Butikk V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1N – Kjøp av varer eller tjenester med 25% </a:t>
                      </a:r>
                      <a:r>
                        <a:rPr lang="nb-NO" sz="1000" err="1"/>
                        <a:t>mva</a:t>
                      </a:r>
                      <a:r>
                        <a:rPr lang="nb-NO" sz="1000"/>
                        <a:t> med fradragsret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1 – Kjøp av varer eller tjenester med 25% </a:t>
                      </a:r>
                      <a:r>
                        <a:rPr lang="nb-NO" sz="1000" err="1"/>
                        <a:t>mva</a:t>
                      </a:r>
                      <a:r>
                        <a:rPr lang="nb-NO" sz="1000"/>
                        <a:t> med fradragsret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00725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4616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3E24112-F6BC-4914-8726-DF8C6E352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159" y="150093"/>
            <a:ext cx="8491682" cy="525401"/>
          </a:xfrm>
        </p:spPr>
        <p:txBody>
          <a:bodyPr/>
          <a:lstStyle/>
          <a:p>
            <a:r>
              <a:rPr lang="nb-NO" sz="2800" err="1"/>
              <a:t>Mva</a:t>
            </a:r>
            <a:r>
              <a:rPr lang="nb-NO" sz="2800"/>
              <a:t> - koder i Unit4 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914D870-766B-0E73-5D7B-C037B65B4A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20551"/>
            <a:ext cx="8229600" cy="3794443"/>
          </a:xfrm>
        </p:spPr>
        <p:txBody>
          <a:bodyPr/>
          <a:lstStyle/>
          <a:p>
            <a:pPr marL="0" indent="0">
              <a:buNone/>
            </a:pPr>
            <a:r>
              <a:rPr lang="nb-NO"/>
              <a:t>Kostnader og investeringer (kjøp av VARER)</a:t>
            </a:r>
          </a:p>
          <a:p>
            <a:pPr marL="0" indent="0">
              <a:buNone/>
            </a:pPr>
            <a:r>
              <a:rPr lang="nb-NO" sz="1200"/>
              <a:t>Varer er fysiske og registreres/deklareres når de krysser grensa. NTNU må selv legge på avgiftskode for påslag. </a:t>
            </a:r>
            <a:r>
              <a:rPr lang="nb-NO" sz="1200" err="1"/>
              <a:t>Mva</a:t>
            </a:r>
            <a:r>
              <a:rPr lang="nb-NO" sz="1200"/>
              <a:t> kode på innkjøpsordre</a:t>
            </a:r>
          </a:p>
          <a:p>
            <a:pPr marL="0" indent="0">
              <a:buNone/>
            </a:pPr>
            <a:br>
              <a:rPr lang="nb-NO" sz="1200"/>
            </a:br>
            <a:r>
              <a:rPr lang="nb-NO" sz="1200"/>
              <a:t>Innkjøpsforespørsel UTENLANDSKE  leverandører</a:t>
            </a:r>
          </a:p>
          <a:p>
            <a:endParaRPr lang="nb-NO"/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AFBC8FD7-8707-4C11-04C8-B2B48184C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840708"/>
              </p:ext>
            </p:extLst>
          </p:nvPr>
        </p:nvGraphicFramePr>
        <p:xfrm>
          <a:off x="559339" y="2279571"/>
          <a:ext cx="5578812" cy="268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7576">
                  <a:extLst>
                    <a:ext uri="{9D8B030D-6E8A-4147-A177-3AD203B41FA5}">
                      <a16:colId xmlns:a16="http://schemas.microsoft.com/office/drawing/2014/main" val="859919018"/>
                    </a:ext>
                  </a:extLst>
                </a:gridCol>
                <a:gridCol w="1403950">
                  <a:extLst>
                    <a:ext uri="{9D8B030D-6E8A-4147-A177-3AD203B41FA5}">
                      <a16:colId xmlns:a16="http://schemas.microsoft.com/office/drawing/2014/main" val="3466835718"/>
                    </a:ext>
                  </a:extLst>
                </a:gridCol>
                <a:gridCol w="1115762">
                  <a:extLst>
                    <a:ext uri="{9D8B030D-6E8A-4147-A177-3AD203B41FA5}">
                      <a16:colId xmlns:a16="http://schemas.microsoft.com/office/drawing/2014/main" val="2856119189"/>
                    </a:ext>
                  </a:extLst>
                </a:gridCol>
                <a:gridCol w="1115762">
                  <a:extLst>
                    <a:ext uri="{9D8B030D-6E8A-4147-A177-3AD203B41FA5}">
                      <a16:colId xmlns:a16="http://schemas.microsoft.com/office/drawing/2014/main" val="3594469920"/>
                    </a:ext>
                  </a:extLst>
                </a:gridCol>
                <a:gridCol w="1115762">
                  <a:extLst>
                    <a:ext uri="{9D8B030D-6E8A-4147-A177-3AD203B41FA5}">
                      <a16:colId xmlns:a16="http://schemas.microsoft.com/office/drawing/2014/main" val="23913849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- KODE Unit 4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ksempel 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mmel MVA- kode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1632132931"/>
                  </a:ext>
                </a:extLst>
              </a:tr>
              <a:tr h="3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påslag av 2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dinære kjøp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95983205"/>
                  </a:ext>
                </a:extLst>
              </a:tr>
              <a:tr h="3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påslag av 1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 av matvarer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78828569"/>
                  </a:ext>
                </a:extLst>
              </a:tr>
              <a:tr h="3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fradragsrett for påslag av 25% 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 av varer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989573286"/>
                  </a:ext>
                </a:extLst>
              </a:tr>
              <a:tr h="3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 fradragsrett for påslag av 1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 av mat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338069263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fritatt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øker til egen bruk og biologisk materiale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800" b="0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21626616"/>
                  </a:ext>
                </a:extLst>
              </a:tr>
              <a:tr h="5100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uten norsk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ke til bruk i Norge. Eks. mindre driftsrekvisita som forbrukes i utlande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86970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75469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3CDAFB0-6884-63AA-F85D-7180DFEC8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731" y="262890"/>
            <a:ext cx="7615382" cy="525401"/>
          </a:xfrm>
        </p:spPr>
        <p:txBody>
          <a:bodyPr/>
          <a:lstStyle/>
          <a:p>
            <a:r>
              <a:rPr lang="nb-NO" sz="2800" err="1"/>
              <a:t>Mva</a:t>
            </a:r>
            <a:r>
              <a:rPr lang="nb-NO" sz="2800"/>
              <a:t> - koder i Unit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3E792AB-BA3A-F0F6-8DEC-CA3286E003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nb-NO" sz="1200"/>
              <a:t>Kostnader (kjøp av TJENESTER)</a:t>
            </a:r>
          </a:p>
          <a:p>
            <a:pPr lvl="1"/>
            <a:r>
              <a:rPr lang="nb-NO" sz="1050"/>
              <a:t>Tjenester er ikke fysiske og NTNU må selv håndtere norsk MVA-påslag. </a:t>
            </a:r>
            <a:r>
              <a:rPr lang="nb-NO" sz="1050" err="1"/>
              <a:t>Mva</a:t>
            </a:r>
            <a:r>
              <a:rPr lang="nb-NO" sz="1050"/>
              <a:t> kode på innkjøpsordre</a:t>
            </a:r>
          </a:p>
          <a:p>
            <a:pPr lvl="2"/>
            <a:r>
              <a:rPr lang="nb-NO" sz="900"/>
              <a:t>Eks:</a:t>
            </a:r>
          </a:p>
          <a:p>
            <a:pPr lvl="3"/>
            <a:r>
              <a:rPr lang="nb-NO" sz="900"/>
              <a:t>Språkvask</a:t>
            </a:r>
          </a:p>
          <a:p>
            <a:pPr lvl="3"/>
            <a:r>
              <a:rPr lang="nb-NO" sz="900"/>
              <a:t>Publisering</a:t>
            </a:r>
          </a:p>
          <a:p>
            <a:pPr lvl="3"/>
            <a:r>
              <a:rPr lang="nb-NO" sz="900"/>
              <a:t>Programvare</a:t>
            </a:r>
          </a:p>
          <a:p>
            <a:pPr marL="0" indent="0">
              <a:buNone/>
            </a:pPr>
            <a:br>
              <a:rPr lang="nb-NO" sz="1200"/>
            </a:br>
            <a:r>
              <a:rPr lang="nb-NO" sz="1200"/>
              <a:t>Innkjøpsforespørsel UTENLANDSKE  leverandører</a:t>
            </a:r>
          </a:p>
          <a:p>
            <a:endParaRPr lang="nb-NO"/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9E83B0EC-6822-BCCE-AF80-BD1DD2F64D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204621"/>
              </p:ext>
            </p:extLst>
          </p:nvPr>
        </p:nvGraphicFramePr>
        <p:xfrm>
          <a:off x="568004" y="2743606"/>
          <a:ext cx="5584741" cy="1611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7643">
                  <a:extLst>
                    <a:ext uri="{9D8B030D-6E8A-4147-A177-3AD203B41FA5}">
                      <a16:colId xmlns:a16="http://schemas.microsoft.com/office/drawing/2014/main" val="1929685497"/>
                    </a:ext>
                  </a:extLst>
                </a:gridCol>
                <a:gridCol w="1206230">
                  <a:extLst>
                    <a:ext uri="{9D8B030D-6E8A-4147-A177-3AD203B41FA5}">
                      <a16:colId xmlns:a16="http://schemas.microsoft.com/office/drawing/2014/main" val="1858226256"/>
                    </a:ext>
                  </a:extLst>
                </a:gridCol>
                <a:gridCol w="1561289">
                  <a:extLst>
                    <a:ext uri="{9D8B030D-6E8A-4147-A177-3AD203B41FA5}">
                      <a16:colId xmlns:a16="http://schemas.microsoft.com/office/drawing/2014/main" val="33695629"/>
                    </a:ext>
                  </a:extLst>
                </a:gridCol>
                <a:gridCol w="710120">
                  <a:extLst>
                    <a:ext uri="{9D8B030D-6E8A-4147-A177-3AD203B41FA5}">
                      <a16:colId xmlns:a16="http://schemas.microsoft.com/office/drawing/2014/main" val="3324850170"/>
                    </a:ext>
                  </a:extLst>
                </a:gridCol>
                <a:gridCol w="1269459">
                  <a:extLst>
                    <a:ext uri="{9D8B030D-6E8A-4147-A177-3AD203B41FA5}">
                      <a16:colId xmlns:a16="http://schemas.microsoft.com/office/drawing/2014/main" val="40831410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- KODE Unit 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marL="0" algn="l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ksempel </a:t>
                      </a:r>
                      <a:endParaRPr lang="nb-NO" sz="8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Gammel MVA- kode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1811454627"/>
                  </a:ext>
                </a:extLst>
              </a:tr>
              <a:tr h="43306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jenester med påslag av 2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ks. programvare, lisenser, språkvask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8_UTL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4747182"/>
                  </a:ext>
                </a:extLst>
              </a:tr>
              <a:tr h="43306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F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jenester med fradrag for påslag av 2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ks. programvare, lisenser, språkvask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819538762"/>
                  </a:ext>
                </a:extLst>
              </a:tr>
              <a:tr h="43306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jenester uten norsk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kke til bruk i Norge. Eks. konferanser/overnatting i utlande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39483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36631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E0DFB2F-E9C9-62BC-9B49-D28DDE0D08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825" y="121393"/>
            <a:ext cx="7615382" cy="648512"/>
          </a:xfrm>
        </p:spPr>
        <p:txBody>
          <a:bodyPr/>
          <a:lstStyle/>
          <a:p>
            <a:r>
              <a:rPr lang="nb-NO" err="1"/>
              <a:t>Beslutningstre</a:t>
            </a:r>
            <a:r>
              <a:rPr lang="nb-NO"/>
              <a:t> kjøp fra utlandet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9003E7A-3C7B-3CB7-E682-17420CAE6B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8046836"/>
              </p:ext>
            </p:extLst>
          </p:nvPr>
        </p:nvGraphicFramePr>
        <p:xfrm>
          <a:off x="-166223" y="1122665"/>
          <a:ext cx="8333478" cy="33405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829049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AAF6F09-A3B9-152B-D2F1-B323F3AB6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" y="128741"/>
            <a:ext cx="9014460" cy="494624"/>
          </a:xfrm>
        </p:spPr>
        <p:txBody>
          <a:bodyPr/>
          <a:lstStyle/>
          <a:p>
            <a:r>
              <a:rPr lang="nb-NO" sz="2600"/>
              <a:t>Eksempel på </a:t>
            </a:r>
            <a:r>
              <a:rPr lang="nb-NO" sz="2600" err="1"/>
              <a:t>mva</a:t>
            </a:r>
            <a:r>
              <a:rPr lang="nb-NO" sz="2600"/>
              <a:t>-koder til utenlandske leverandører </a:t>
            </a:r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44B2EB96-E71F-5D50-D9CD-D35DB1F86A6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60279609"/>
              </p:ext>
            </p:extLst>
          </p:nvPr>
        </p:nvGraphicFramePr>
        <p:xfrm>
          <a:off x="283961" y="1152095"/>
          <a:ext cx="6887696" cy="336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252">
                  <a:extLst>
                    <a:ext uri="{9D8B030D-6E8A-4147-A177-3AD203B41FA5}">
                      <a16:colId xmlns:a16="http://schemas.microsoft.com/office/drawing/2014/main" val="3451335583"/>
                    </a:ext>
                  </a:extLst>
                </a:gridCol>
                <a:gridCol w="1932495">
                  <a:extLst>
                    <a:ext uri="{9D8B030D-6E8A-4147-A177-3AD203B41FA5}">
                      <a16:colId xmlns:a16="http://schemas.microsoft.com/office/drawing/2014/main" val="2419487018"/>
                    </a:ext>
                  </a:extLst>
                </a:gridCol>
                <a:gridCol w="1593130">
                  <a:extLst>
                    <a:ext uri="{9D8B030D-6E8A-4147-A177-3AD203B41FA5}">
                      <a16:colId xmlns:a16="http://schemas.microsoft.com/office/drawing/2014/main" val="3307735632"/>
                    </a:ext>
                  </a:extLst>
                </a:gridCol>
                <a:gridCol w="1729819">
                  <a:extLst>
                    <a:ext uri="{9D8B030D-6E8A-4147-A177-3AD203B41FA5}">
                      <a16:colId xmlns:a16="http://schemas.microsoft.com/office/drawing/2014/main" val="3873182950"/>
                    </a:ext>
                  </a:extLst>
                </a:gridCol>
              </a:tblGrid>
              <a:tr h="72009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20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påslag av 25% MVA uten fradragsrett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3T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Kjøp av tjenester med påslag av 25% MVA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VA-</a:t>
                      </a:r>
                      <a:r>
                        <a:rPr lang="en-US" sz="1400" b="1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de</a:t>
                      </a: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3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Import av varer fritatt MVA)</a:t>
                      </a:r>
                    </a:p>
                    <a:p>
                      <a:endParaRPr lang="nb-NO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0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Kjøp av tjenester uten norsk MVA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48335778"/>
                  </a:ext>
                </a:extLst>
              </a:tr>
              <a:tr h="2537460"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Forbruks- og driftsmateriell , lab./verksted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1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Gass og kjemikali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3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Undervisningsmateriell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5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Driftsrekvisita</a:t>
                      </a:r>
                      <a:r>
                        <a:rPr lang="nb-NO" sz="1400"/>
                        <a:t> </a:t>
                      </a:r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73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Andre konsulenttjenester*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79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Kjøp forsknings- og lab tjenest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821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Publiseringsavgift</a:t>
                      </a:r>
                      <a:r>
                        <a:rPr lang="nb-NO" sz="1400"/>
                        <a:t>  </a:t>
                      </a:r>
                      <a:endParaRPr lang="en-US" sz="1400"/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843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Bøk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2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Organisk materiale</a:t>
                      </a:r>
                      <a:r>
                        <a:rPr lang="nb-NO" sz="1400"/>
                        <a:t>  </a:t>
                      </a:r>
                      <a:endParaRPr lang="en-US" sz="1400"/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870 Deltakeravgifter for kurs og seminar, egne ansatte i utlandet</a:t>
                      </a:r>
                      <a:endParaRPr lang="en-US" sz="1400" b="0" i="0" u="none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844 E-bøker</a:t>
                      </a:r>
                    </a:p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nb-NO" sz="1400" b="0" i="0" u="none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68755119"/>
                  </a:ext>
                </a:extLst>
              </a:tr>
            </a:tbl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D3BC7E6-F334-BC8F-3241-8C1A8B9DF881}"/>
              </a:ext>
            </a:extLst>
          </p:cNvPr>
          <p:cNvSpPr/>
          <p:nvPr/>
        </p:nvSpPr>
        <p:spPr>
          <a:xfrm>
            <a:off x="2085045" y="4520134"/>
            <a:ext cx="1798023" cy="623365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600">
                <a:solidFill>
                  <a:schemeClr val="tx1"/>
                </a:solidFill>
              </a:rPr>
              <a:t>* På oppdragsprosjekt kan innkjøp av konsulenttjenester i noen tilfeller være fradragsberettiget, da vil kode 3F være riktig å bruke</a:t>
            </a:r>
          </a:p>
        </p:txBody>
      </p:sp>
    </p:spTree>
    <p:extLst>
      <p:ext uri="{BB962C8B-B14F-4D97-AF65-F5344CB8AC3E}">
        <p14:creationId xmlns:p14="http://schemas.microsoft.com/office/powerpoint/2010/main" val="36005807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5F99DA7-D765-BFD6-B792-5F91CB05B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833178"/>
          </a:xfrm>
        </p:spPr>
        <p:txBody>
          <a:bodyPr/>
          <a:lstStyle/>
          <a:p>
            <a:r>
              <a:rPr lang="nb-NO" sz="2400"/>
              <a:t>Kjøp fra utenlandske leverandører som leveres i Norg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ED53F45-E1B6-1D05-7E09-7114437DF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259" y="1214291"/>
            <a:ext cx="8078231" cy="3630870"/>
          </a:xfrm>
        </p:spPr>
        <p:txBody>
          <a:bodyPr/>
          <a:lstStyle/>
          <a:p>
            <a:r>
              <a:rPr lang="nb-NO" sz="1600"/>
              <a:t>Tjenester hvor leverandør kommer til Norge og gjør en jobb</a:t>
            </a:r>
          </a:p>
          <a:p>
            <a:pPr lvl="1"/>
            <a:r>
              <a:rPr lang="nb-NO" sz="1200"/>
              <a:t>Serviceavtaler</a:t>
            </a:r>
          </a:p>
          <a:p>
            <a:pPr lvl="1"/>
            <a:r>
              <a:rPr lang="nb-NO" sz="1200"/>
              <a:t>Montering/Installasjon</a:t>
            </a:r>
          </a:p>
          <a:p>
            <a:pPr lvl="1"/>
            <a:r>
              <a:rPr lang="nb-NO" sz="1200"/>
              <a:t>Konsulentoppdrag</a:t>
            </a:r>
          </a:p>
          <a:p>
            <a:r>
              <a:rPr lang="nb-NO" sz="1600"/>
              <a:t>Leie av utstyr</a:t>
            </a:r>
          </a:p>
          <a:p>
            <a:r>
              <a:rPr lang="nb-NO" sz="1600"/>
              <a:t>Leverandør er forpliktet til å registrere seg for norsk MVA dersom omsetning i Norge er større enn NOK 50 000 i løpet av en periode på 12 måneder.</a:t>
            </a:r>
          </a:p>
          <a:p>
            <a:r>
              <a:rPr lang="nb-NO" sz="1600"/>
              <a:t>Alle oppdrag gitt til utenlandsk oppdragstakere skal rapporteres i Oppdrags- og arbeidsforholdsregisteret (OAR)</a:t>
            </a:r>
          </a:p>
          <a:p>
            <a:pPr lvl="1"/>
            <a:r>
              <a:rPr lang="nb-NO" sz="1200"/>
              <a:t>Det er oppdragsgivers plikt å rapportere oppdraget, dersom verdien på oppdraget overstiger NOK 20 000</a:t>
            </a:r>
          </a:p>
          <a:p>
            <a:pPr lvl="1"/>
            <a:r>
              <a:rPr lang="nb-NO" sz="1200"/>
              <a:t>Den utenlandske oppdragstakeren har plikt til å rapportere arbeidstakerne som jobber på oppdraget</a:t>
            </a:r>
          </a:p>
          <a:p>
            <a:pPr lvl="1"/>
            <a:r>
              <a:rPr lang="nb-NO" sz="1200"/>
              <a:t>Vi kommer tilbake med interne rutiner når dette er på plass.</a:t>
            </a:r>
          </a:p>
          <a:p>
            <a:r>
              <a:rPr lang="nb-NO" sz="1600"/>
              <a:t>Skatteetaten følger opp med rapporteringskrav både for kjøper og selger 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79312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5780912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innkjøp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Nye begreper / Terminologi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  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</a:t>
                      </a:r>
                      <a:r>
                        <a:rPr lang="nb-NO" sz="1400" b="1" i="0" u="none" strike="noStrike" noProof="0">
                          <a:latin typeface="Arial"/>
                        </a:rPr>
                        <a:t>opprette innkjøpsforespørsel, utføre vare-/tjenestemottak, og fakturabehandling</a:t>
                      </a:r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42151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F4CF8B-0E40-4EE5-A4B6-8F9436DBAE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6146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F4CF8B-0E40-4EE5-A4B6-8F9436DBA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716C68F-B306-4CBB-B318-CF1462DBED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1741632"/>
              </p:ext>
            </p:extLst>
          </p:nvPr>
        </p:nvGraphicFramePr>
        <p:xfrm>
          <a:off x="420623" y="728112"/>
          <a:ext cx="8302752" cy="4006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061">
                  <a:extLst>
                    <a:ext uri="{9D8B030D-6E8A-4147-A177-3AD203B41FA5}">
                      <a16:colId xmlns:a16="http://schemas.microsoft.com/office/drawing/2014/main" val="3406027728"/>
                    </a:ext>
                  </a:extLst>
                </a:gridCol>
                <a:gridCol w="5605691">
                  <a:extLst>
                    <a:ext uri="{9D8B030D-6E8A-4147-A177-3AD203B41FA5}">
                      <a16:colId xmlns:a16="http://schemas.microsoft.com/office/drawing/2014/main" val="3389980063"/>
                    </a:ext>
                  </a:extLst>
                </a:gridCol>
              </a:tblGrid>
              <a:tr h="299284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Begrep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Forklaring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1280464"/>
                  </a:ext>
                </a:extLst>
              </a:tr>
              <a:tr h="344381">
                <a:tc>
                  <a:txBody>
                    <a:bodyPr/>
                    <a:lstStyle/>
                    <a:p>
                      <a:r>
                        <a:rPr lang="nb-NO" sz="1100"/>
                        <a:t>Innkjøpsforespørsel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En</a:t>
                      </a:r>
                      <a:r>
                        <a:rPr lang="nb-NO" sz="1100" baseline="0"/>
                        <a:t> fo</a:t>
                      </a:r>
                      <a:r>
                        <a:rPr lang="nb-NO" sz="1100"/>
                        <a:t>respørsel om bestilling av varer/tjenester i innkjøpsløsningen</a:t>
                      </a: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5947389"/>
                  </a:ext>
                </a:extLst>
              </a:tr>
              <a:tr h="614967">
                <a:tc>
                  <a:txBody>
                    <a:bodyPr/>
                    <a:lstStyle/>
                    <a:p>
                      <a:r>
                        <a:rPr lang="nb-NO" sz="1100"/>
                        <a:t>Innkjøpsforespørselsnummer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Et </a:t>
                      </a:r>
                      <a:r>
                        <a:rPr lang="en-US" sz="1100" err="1"/>
                        <a:t>referansenumm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om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genereres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nnkjøpsløsningen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nå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nnkjøpsforespørselen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endes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til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godkjenning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eller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lagres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som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utkast</a:t>
                      </a:r>
                      <a:r>
                        <a:rPr lang="en-US" sz="1100" baseline="0"/>
                        <a:t>. </a:t>
                      </a:r>
                      <a:r>
                        <a:rPr lang="en-US" sz="1100" err="1"/>
                        <a:t>Nummerserien</a:t>
                      </a:r>
                      <a:r>
                        <a:rPr lang="en-US" sz="1100"/>
                        <a:t> starter </a:t>
                      </a:r>
                      <a:r>
                        <a:rPr lang="en-US" sz="1100" err="1"/>
                        <a:t>på</a:t>
                      </a:r>
                      <a:r>
                        <a:rPr lang="en-US" sz="1100"/>
                        <a:t> 500000000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08997"/>
                  </a:ext>
                </a:extLst>
              </a:tr>
              <a:tr h="344381">
                <a:tc>
                  <a:txBody>
                    <a:bodyPr/>
                    <a:lstStyle/>
                    <a:p>
                      <a:r>
                        <a:rPr lang="nb-NO" sz="1100"/>
                        <a:t>Innkjøpsordrenummer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Et </a:t>
                      </a:r>
                      <a:r>
                        <a:rPr lang="en-US" sz="1100" err="1"/>
                        <a:t>referansenumm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om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genereres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nnkjøpsløsningen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nå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nnkjøpsforespørselen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godkjent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av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kostnadsgodkjenner</a:t>
                      </a:r>
                      <a:r>
                        <a:rPr lang="en-US" sz="1100"/>
                        <a:t>. </a:t>
                      </a:r>
                      <a:r>
                        <a:rPr lang="en-US" sz="1100" err="1"/>
                        <a:t>Innkjøpsordrenumm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endes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til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leverandør</a:t>
                      </a:r>
                      <a:r>
                        <a:rPr lang="en-US" sz="1100"/>
                        <a:t> og </a:t>
                      </a:r>
                      <a:r>
                        <a:rPr lang="en-US" sz="1100" err="1"/>
                        <a:t>må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brukes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om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referanse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på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faktura</a:t>
                      </a:r>
                      <a:r>
                        <a:rPr lang="en-US" sz="1100"/>
                        <a:t>. </a:t>
                      </a:r>
                      <a:r>
                        <a:rPr lang="en-US" sz="1100" err="1"/>
                        <a:t>Omtales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ystemet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om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ordrenummer</a:t>
                      </a:r>
                      <a:r>
                        <a:rPr lang="en-US" sz="1100"/>
                        <a:t>. </a:t>
                      </a:r>
                      <a:r>
                        <a:rPr lang="en-US" sz="1100" err="1"/>
                        <a:t>Nummerserien</a:t>
                      </a:r>
                      <a:r>
                        <a:rPr lang="en-US" sz="1100"/>
                        <a:t> starter </a:t>
                      </a:r>
                      <a:r>
                        <a:rPr lang="en-US" sz="1100" err="1"/>
                        <a:t>på</a:t>
                      </a:r>
                      <a:r>
                        <a:rPr lang="en-US" sz="1100"/>
                        <a:t> 600000000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6081729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nb-NO" sz="1100"/>
                        <a:t>Fritekstartikler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En vare/tjeneste som ikke er forhåndsdefinert, hvor artikkelen må beskrives med egne ord i innkjøpsløsningen</a:t>
                      </a: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5834807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nb-NO" sz="1100"/>
                        <a:t>Innkjøpsfaktura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err="1"/>
                        <a:t>Faktura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om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har</a:t>
                      </a:r>
                      <a:r>
                        <a:rPr lang="en-US" sz="1100"/>
                        <a:t> et </a:t>
                      </a:r>
                      <a:r>
                        <a:rPr lang="en-US" sz="1100" err="1"/>
                        <a:t>innkjøpsordrenummer</a:t>
                      </a:r>
                      <a:r>
                        <a:rPr lang="en-US" sz="1100"/>
                        <a:t>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6263088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nb-NO" sz="1100"/>
                        <a:t>Leverandørfaktura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Faktura </a:t>
                      </a:r>
                      <a:r>
                        <a:rPr lang="en-US" sz="1100" err="1"/>
                        <a:t>som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kke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har</a:t>
                      </a:r>
                      <a:r>
                        <a:rPr lang="en-US" sz="1100"/>
                        <a:t> et </a:t>
                      </a:r>
                      <a:r>
                        <a:rPr lang="en-US" sz="1100" err="1"/>
                        <a:t>innkjøpsordrenumm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ell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kontraktsnummer</a:t>
                      </a: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055015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nb-NO" sz="1100"/>
                        <a:t>Periodisk</a:t>
                      </a:r>
                      <a:r>
                        <a:rPr lang="nb-NO" sz="1100" baseline="0"/>
                        <a:t> faktura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Faktura som kommer til faste tidspunkt, eks husleie, abonnementstjenester. Inngående faktura som mottas periodisk, som blir koblet mot et objekt, og som kan behandles automatisk i arbeidsflyt hvis fakturaen er innenfor avtalen.</a:t>
                      </a: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130999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en-US" sz="1100" err="1"/>
                        <a:t>Tekst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til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hovedbok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err="1"/>
                        <a:t>Beskriv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ytterligere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nformasjon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om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begrunn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kostnaden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regnskapet</a:t>
                      </a:r>
                      <a:r>
                        <a:rPr lang="en-US" sz="110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9631146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D86C60D8-EA93-49C7-BEA5-8AF9CCCFB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625" y="143337"/>
            <a:ext cx="8418747" cy="584775"/>
          </a:xfrm>
        </p:spPr>
        <p:txBody>
          <a:bodyPr vert="horz"/>
          <a:lstStyle/>
          <a:p>
            <a:r>
              <a:rPr lang="nb-NO" sz="3200"/>
              <a:t>Begreper </a:t>
            </a:r>
          </a:p>
        </p:txBody>
      </p:sp>
    </p:spTree>
    <p:extLst>
      <p:ext uri="{BB962C8B-B14F-4D97-AF65-F5344CB8AC3E}">
        <p14:creationId xmlns:p14="http://schemas.microsoft.com/office/powerpoint/2010/main" val="27562481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4DF634-8D31-465A-87CA-34E28DDF0E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8055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4DF634-8D31-465A-87CA-34E28DDF0E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1C84F5B-0895-4395-A7C9-0DDA7B12B8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2488221"/>
              </p:ext>
            </p:extLst>
          </p:nvPr>
        </p:nvGraphicFramePr>
        <p:xfrm>
          <a:off x="457199" y="942854"/>
          <a:ext cx="8229600" cy="3756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7494">
                  <a:extLst>
                    <a:ext uri="{9D8B030D-6E8A-4147-A177-3AD203B41FA5}">
                      <a16:colId xmlns:a16="http://schemas.microsoft.com/office/drawing/2014/main" val="671472728"/>
                    </a:ext>
                  </a:extLst>
                </a:gridCol>
                <a:gridCol w="6472106">
                  <a:extLst>
                    <a:ext uri="{9D8B030D-6E8A-4147-A177-3AD203B41FA5}">
                      <a16:colId xmlns:a16="http://schemas.microsoft.com/office/drawing/2014/main" val="587957633"/>
                    </a:ext>
                  </a:extLst>
                </a:gridCol>
              </a:tblGrid>
              <a:tr h="357416">
                <a:tc>
                  <a:txBody>
                    <a:bodyPr/>
                    <a:lstStyle/>
                    <a:p>
                      <a:r>
                        <a:rPr lang="en-US" sz="1600" err="1"/>
                        <a:t>Begrep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err="1"/>
                        <a:t>Forklaring</a:t>
                      </a:r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4262820"/>
                  </a:ext>
                </a:extLst>
              </a:tr>
              <a:tr h="288535">
                <a:tc>
                  <a:txBody>
                    <a:bodyPr/>
                    <a:lstStyle/>
                    <a:p>
                      <a:r>
                        <a:rPr lang="nb-NO" sz="1050"/>
                        <a:t>Fakturaflytoppfølger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050"/>
                        <a:t>Prosessrollen som sikrer at faktura som mottas følger oppsatt flyt (k</a:t>
                      </a:r>
                      <a:r>
                        <a:rPr lang="nb-NO" sz="1050" baseline="0"/>
                        <a:t>jent som sentralt mottak).</a:t>
                      </a:r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319195"/>
                  </a:ext>
                </a:extLst>
              </a:tr>
              <a:tr h="465530">
                <a:tc>
                  <a:txBody>
                    <a:bodyPr/>
                    <a:lstStyle/>
                    <a:p>
                      <a:r>
                        <a:rPr lang="nb-NO" sz="1050"/>
                        <a:t>Varemottak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err="1"/>
                        <a:t>Bekreftelse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på</a:t>
                      </a:r>
                      <a:r>
                        <a:rPr lang="en-US" sz="1050"/>
                        <a:t> at </a:t>
                      </a:r>
                      <a:r>
                        <a:rPr lang="en-US" sz="1050" err="1"/>
                        <a:t>bestilt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vare</a:t>
                      </a:r>
                      <a:r>
                        <a:rPr lang="en-US" sz="1050"/>
                        <a:t>/</a:t>
                      </a:r>
                      <a:r>
                        <a:rPr lang="en-US" sz="1050" err="1"/>
                        <a:t>tjeneste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er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mottatt</a:t>
                      </a:r>
                      <a:r>
                        <a:rPr lang="en-US" sz="1050"/>
                        <a:t>, og </a:t>
                      </a:r>
                      <a:r>
                        <a:rPr lang="en-US" sz="1050" err="1"/>
                        <a:t>i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tråd</a:t>
                      </a:r>
                      <a:r>
                        <a:rPr lang="en-US" sz="1050"/>
                        <a:t> med </a:t>
                      </a:r>
                      <a:r>
                        <a:rPr lang="en-US" sz="1050" err="1"/>
                        <a:t>innkjøpsordre</a:t>
                      </a:r>
                      <a:r>
                        <a:rPr lang="en-US" sz="1050"/>
                        <a:t>. </a:t>
                      </a:r>
                      <a:r>
                        <a:rPr lang="en-US" sz="1050" err="1"/>
                        <a:t>Registreres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i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eget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skjermbilde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i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innkjøpsløsningen</a:t>
                      </a:r>
                      <a:r>
                        <a:rPr lang="en-US" sz="1050"/>
                        <a:t>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4260725"/>
                  </a:ext>
                </a:extLst>
              </a:tr>
              <a:tr h="253170">
                <a:tc>
                  <a:txBody>
                    <a:bodyPr/>
                    <a:lstStyle/>
                    <a:p>
                      <a:r>
                        <a:rPr lang="nb-NO" sz="1050"/>
                        <a:t>Avgiftskoder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err="1"/>
                        <a:t>Koder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som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styrer</a:t>
                      </a:r>
                      <a:r>
                        <a:rPr lang="en-US" sz="1050"/>
                        <a:t> </a:t>
                      </a:r>
                      <a:r>
                        <a:rPr lang="en-US" sz="1050" err="1"/>
                        <a:t>behandling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av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mva</a:t>
                      </a:r>
                      <a:r>
                        <a:rPr lang="en-US" sz="1050" baseline="0"/>
                        <a:t> I </a:t>
                      </a:r>
                      <a:r>
                        <a:rPr lang="en-US" sz="1050" baseline="0" err="1"/>
                        <a:t>regnskapet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og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mva</a:t>
                      </a:r>
                      <a:r>
                        <a:rPr lang="en-US" sz="1050" baseline="0"/>
                        <a:t>%</a:t>
                      </a:r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5057208"/>
                  </a:ext>
                </a:extLst>
              </a:tr>
              <a:tr h="253170">
                <a:tc>
                  <a:txBody>
                    <a:bodyPr/>
                    <a:lstStyle/>
                    <a:p>
                      <a:r>
                        <a:rPr lang="nb-NO" sz="1050"/>
                        <a:t>Distribusjonsmodus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err="1"/>
                        <a:t>Valg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av</a:t>
                      </a:r>
                      <a:r>
                        <a:rPr lang="en-US" sz="1050" baseline="0"/>
                        <a:t> modus </a:t>
                      </a:r>
                      <a:r>
                        <a:rPr lang="en-US" sz="1050" baseline="0" err="1"/>
                        <a:t>styre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videre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arbeidsflyt</a:t>
                      </a:r>
                      <a:r>
                        <a:rPr lang="en-US" sz="1050" baseline="0"/>
                        <a:t> for </a:t>
                      </a:r>
                      <a:r>
                        <a:rPr lang="en-US" sz="1050" baseline="0" err="1"/>
                        <a:t>en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innkjøpsordre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når</a:t>
                      </a:r>
                      <a:r>
                        <a:rPr lang="en-US" sz="1050" baseline="0"/>
                        <a:t> den </a:t>
                      </a:r>
                      <a:r>
                        <a:rPr lang="en-US" sz="1050" baseline="0" err="1"/>
                        <a:t>e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godkjent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av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leverandør</a:t>
                      </a:r>
                      <a:r>
                        <a:rPr lang="en-US" sz="1050" baseline="0"/>
                        <a:t>. </a:t>
                      </a:r>
                      <a:r>
                        <a:rPr lang="en-US" sz="1050" baseline="0" err="1"/>
                        <a:t>Gi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mulighet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til</a:t>
                      </a:r>
                      <a:r>
                        <a:rPr lang="en-US" sz="1050" baseline="0"/>
                        <a:t> å </a:t>
                      </a:r>
                      <a:r>
                        <a:rPr lang="en-US" sz="1050" baseline="0" err="1"/>
                        <a:t>velge</a:t>
                      </a:r>
                      <a:r>
                        <a:rPr lang="en-US" sz="1050" baseline="0"/>
                        <a:t> om </a:t>
                      </a:r>
                      <a:r>
                        <a:rPr lang="en-US" sz="1050" baseline="0" err="1"/>
                        <a:t>ordren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skal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sendes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til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leverandø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elle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ikke</a:t>
                      </a:r>
                      <a:r>
                        <a:rPr lang="en-US" sz="1050" baseline="0"/>
                        <a:t>.</a:t>
                      </a:r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905099"/>
                  </a:ext>
                </a:extLst>
              </a:tr>
              <a:tr h="580801">
                <a:tc>
                  <a:txBody>
                    <a:bodyPr/>
                    <a:lstStyle/>
                    <a:p>
                      <a:r>
                        <a:rPr lang="nb-NO" sz="1050" err="1"/>
                        <a:t>Kostnadsgodkjenner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sessrollen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kal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kre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t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posisjon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tal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g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av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før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økonomisk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pliktelse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itete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åd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ed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jeldende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over,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l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g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ningslinj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tin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eger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dsjettdisponeringsmyndighe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llmaktsstrukturen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h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lement</a:t>
                      </a:r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9082593"/>
                  </a:ext>
                </a:extLst>
              </a:tr>
              <a:tr h="424057">
                <a:tc>
                  <a:txBody>
                    <a:bodyPr/>
                    <a:lstStyle/>
                    <a:p>
                      <a:r>
                        <a:rPr lang="nb-NO" sz="1050"/>
                        <a:t>Nettbutikk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jent</a:t>
                      </a:r>
                      <a:r>
                        <a:rPr lang="nb-NO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om ekstern katalog eller </a:t>
                      </a:r>
                      <a:r>
                        <a:rPr lang="nb-NO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nchout</a:t>
                      </a:r>
                      <a:r>
                        <a:rPr lang="nb-NO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Løsning hvor en går ut starter i systemet og blir tatt med ut til </a:t>
                      </a:r>
                      <a:r>
                        <a:rPr lang="nb-NO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erandørensnettside</a:t>
                      </a:r>
                      <a:r>
                        <a:rPr lang="nb-NO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ilrettelagt for UiO, plukker varer og tar disse med tilbake til handlekurven i systemet.</a:t>
                      </a:r>
                      <a:endParaRPr lang="nb-NO" sz="105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4007201"/>
                  </a:ext>
                </a:extLst>
              </a:tr>
              <a:tr h="296262">
                <a:tc>
                  <a:txBody>
                    <a:bodyPr/>
                    <a:lstStyle/>
                    <a:p>
                      <a:r>
                        <a:rPr lang="nb-NO" sz="1050"/>
                        <a:t>Intern katalog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alog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est inn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steme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n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ære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alog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ttat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ernadø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l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iO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prette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v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6367755"/>
                  </a:ext>
                </a:extLst>
              </a:tr>
              <a:tr h="416986">
                <a:tc>
                  <a:txBody>
                    <a:bodyPr/>
                    <a:lstStyle/>
                    <a:p>
                      <a:r>
                        <a:rPr lang="en-US" sz="1050" err="1"/>
                        <a:t>Bilagsnummer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ktura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ttas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steme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t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ge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lagsnumm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å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kturaen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kfør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kturaen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t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yt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lagsnumm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en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lagsnummerserie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05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2566206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D14496A4-DAC8-44FE-BA7A-DC7403996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626" y="272877"/>
            <a:ext cx="8418747" cy="584775"/>
          </a:xfrm>
        </p:spPr>
        <p:txBody>
          <a:bodyPr vert="horz"/>
          <a:lstStyle/>
          <a:p>
            <a:r>
              <a:rPr lang="nb-NO" sz="3200"/>
              <a:t>Begreper forts. </a:t>
            </a:r>
          </a:p>
        </p:txBody>
      </p:sp>
    </p:spTree>
    <p:extLst>
      <p:ext uri="{BB962C8B-B14F-4D97-AF65-F5344CB8AC3E}">
        <p14:creationId xmlns:p14="http://schemas.microsoft.com/office/powerpoint/2010/main" val="27417517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33940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innkjøp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Kort demo av Unit4 ERP – </a:t>
                      </a:r>
                      <a:r>
                        <a:rPr lang="nb-NO" sz="1400" b="1" i="0" u="none" strike="noStrike" noProof="0">
                          <a:solidFill>
                            <a:schemeClr val="bg1"/>
                          </a:solidFill>
                          <a:latin typeface="Arial"/>
                        </a:rPr>
                        <a:t>opprette innkjøpsforespørsel, utføre vare-/tjenestemottak, og fakturabehandling</a:t>
                      </a:r>
                      <a:endParaRPr lang="nb-NO" sz="1400" b="1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9202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A96A91-1EAD-4D0D-BA78-D730EC797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37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A96A91-1EAD-4D0D-BA78-D730EC797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9FBAE6-B04A-42D4-9A99-86927F895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Lærings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E4BA56-6B5A-4A3C-A988-029EDCF7F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373098"/>
            <a:ext cx="5977971" cy="2054403"/>
          </a:xfrm>
        </p:spPr>
        <p:txBody>
          <a:bodyPr/>
          <a:lstStyle/>
          <a:p>
            <a:pPr marL="0" indent="0">
              <a:buNone/>
            </a:pPr>
            <a:r>
              <a:rPr lang="nb-NO" i="1"/>
              <a:t>BOTT E-læring for innkjøper skal gjøre den ansatte rustet til å gjennomføre bestillinger av varer og tjenester og behandle inngående faktura gjennom god rolle- og prosessforståelse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275EA1-620B-4928-99E2-E4770198096F}"/>
              </a:ext>
            </a:extLst>
          </p:cNvPr>
          <p:cNvSpPr/>
          <p:nvPr/>
        </p:nvSpPr>
        <p:spPr>
          <a:xfrm>
            <a:off x="6672263" y="0"/>
            <a:ext cx="2471737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6" name="Graphic 5" descr="Classroom with solid fill">
            <a:extLst>
              <a:ext uri="{FF2B5EF4-FFF2-40B4-BE49-F238E27FC236}">
                <a16:creationId xmlns:a16="http://schemas.microsoft.com/office/drawing/2014/main" id="{3D2D5FF9-A7E0-47E3-A833-BA19189381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8937" y="1516857"/>
            <a:ext cx="2405063" cy="240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2271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3751C6-19EA-4A04-A4E2-FF5A555DD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418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3751C6-19EA-4A04-A4E2-FF5A555DD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03C6FD-E64D-4F44-97A7-21E799BD5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Registrere innkjøpsforespørsel - Demo</a:t>
            </a:r>
          </a:p>
        </p:txBody>
      </p:sp>
      <p:pic>
        <p:nvPicPr>
          <p:cNvPr id="17" name="Graphic 16" descr="Internet outline">
            <a:extLst>
              <a:ext uri="{FF2B5EF4-FFF2-40B4-BE49-F238E27FC236}">
                <a16:creationId xmlns:a16="http://schemas.microsoft.com/office/drawing/2014/main" id="{14A8BE81-715D-410B-877F-86DE1B2324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38257" y="1097341"/>
            <a:ext cx="3549878" cy="3549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64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92F326-9FA1-44F8-8917-A9DD2DAF1A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024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92F326-9FA1-44F8-8917-A9DD2DAF1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A9F4AB-C8AD-4C46-9095-D89DDE502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Gjøre vare- / tjenestemottak - Video</a:t>
            </a:r>
          </a:p>
        </p:txBody>
      </p:sp>
      <p:pic>
        <p:nvPicPr>
          <p:cNvPr id="13" name="Graphic 12" descr="Online meeting outline">
            <a:extLst>
              <a:ext uri="{FF2B5EF4-FFF2-40B4-BE49-F238E27FC236}">
                <a16:creationId xmlns:a16="http://schemas.microsoft.com/office/drawing/2014/main" id="{94C6C551-A039-4DDA-8378-856031A3F3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15313" y="1044020"/>
            <a:ext cx="3445518" cy="344551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DAF4036-EBE6-430D-941A-2E1DDB2E770D}"/>
              </a:ext>
            </a:extLst>
          </p:cNvPr>
          <p:cNvSpPr txBox="1"/>
          <p:nvPr/>
        </p:nvSpPr>
        <p:spPr>
          <a:xfrm>
            <a:off x="2532183" y="4181942"/>
            <a:ext cx="5531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hlinkClick r:id="rId8"/>
              </a:rPr>
              <a:t>DFØ: Instruksjonsvideo - Varemottak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46204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111D31-FDC6-4C50-BF29-342D1245EE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027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111D31-FDC6-4C50-BF29-342D1245E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946935-0317-4BFE-80A1-8A20FDD55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Behandle inngående faktura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FEB1C9-6E4A-4213-83D4-F46CDF67C3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2626" y="4103986"/>
            <a:ext cx="8418747" cy="648512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nb-NO">
                <a:hlinkClick r:id="rId5"/>
              </a:rPr>
              <a:t>https://dfo.infocaption.com/357.guide</a:t>
            </a:r>
            <a:r>
              <a:rPr lang="nb-NO"/>
              <a:t> </a:t>
            </a:r>
          </a:p>
        </p:txBody>
      </p:sp>
      <p:pic>
        <p:nvPicPr>
          <p:cNvPr id="5" name="Graphic 4" descr="Internet outline">
            <a:extLst>
              <a:ext uri="{FF2B5EF4-FFF2-40B4-BE49-F238E27FC236}">
                <a16:creationId xmlns:a16="http://schemas.microsoft.com/office/drawing/2014/main" id="{169990E4-B4E5-41A5-8C09-351D1B2780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35819" y="946851"/>
            <a:ext cx="3549878" cy="3549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8340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9076380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innkjøp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</a:t>
                      </a:r>
                      <a:r>
                        <a:rPr lang="nb-NO" sz="1400" b="1" i="0" u="none" strike="noStrike" noProof="0">
                          <a:latin typeface="Arial"/>
                        </a:rPr>
                        <a:t>opprette innkjøpsforespørsel, utføre vare-/tjenestemottak, og fakturabehandling</a:t>
                      </a:r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Hva skjer videre 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  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15692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B4DDF2-6FBF-4265-AA2E-E2924460D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342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B4DDF2-6FBF-4265-AA2E-E2924460D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F06DE0-2138-CF8E-7F48-A3A81D53E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Vikti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3DFAB8-87BC-4548-A52A-4AC5876EEDF1}"/>
              </a:ext>
            </a:extLst>
          </p:cNvPr>
          <p:cNvSpPr/>
          <p:nvPr/>
        </p:nvSpPr>
        <p:spPr>
          <a:xfrm>
            <a:off x="883436" y="1226820"/>
            <a:ext cx="3214653" cy="3246120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br>
              <a:rPr lang="nb-NO"/>
            </a:br>
            <a:br>
              <a:rPr lang="nb-NO"/>
            </a:br>
            <a:br>
              <a:rPr lang="nb-NO"/>
            </a:br>
            <a:br>
              <a:rPr lang="nb-NO"/>
            </a:br>
            <a:br>
              <a:rPr lang="nb-NO"/>
            </a:br>
            <a:r>
              <a:rPr lang="nb-NO"/>
              <a:t>Ta varemottak på det som mottas i 2022</a:t>
            </a:r>
          </a:p>
        </p:txBody>
      </p:sp>
      <p:grpSp>
        <p:nvGrpSpPr>
          <p:cNvPr id="10" name="Group 521">
            <a:extLst>
              <a:ext uri="{FF2B5EF4-FFF2-40B4-BE49-F238E27FC236}">
                <a16:creationId xmlns:a16="http://schemas.microsoft.com/office/drawing/2014/main" id="{C5A58059-213D-46D8-AC3C-A161D977E6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66940" y="1619084"/>
            <a:ext cx="1307107" cy="1307106"/>
            <a:chOff x="3476" y="2032"/>
            <a:chExt cx="340" cy="340"/>
          </a:xfrm>
          <a:solidFill>
            <a:schemeClr val="bg1"/>
          </a:solidFill>
        </p:grpSpPr>
        <p:sp>
          <p:nvSpPr>
            <p:cNvPr id="11" name="Freeform 522">
              <a:extLst>
                <a:ext uri="{FF2B5EF4-FFF2-40B4-BE49-F238E27FC236}">
                  <a16:creationId xmlns:a16="http://schemas.microsoft.com/office/drawing/2014/main" id="{5048371D-4B11-4D39-B3A2-66298510C0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5" y="2266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2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2"/>
                  </a:move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12" name="Freeform 523">
              <a:extLst>
                <a:ext uri="{FF2B5EF4-FFF2-40B4-BE49-F238E27FC236}">
                  <a16:creationId xmlns:a16="http://schemas.microsoft.com/office/drawing/2014/main" id="{B81EE79C-B7ED-4C23-B79F-1E405FA771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7" y="2096"/>
              <a:ext cx="58" cy="155"/>
            </a:xfrm>
            <a:custGeom>
              <a:avLst/>
              <a:gdLst>
                <a:gd name="T0" fmla="*/ 21 w 86"/>
                <a:gd name="T1" fmla="*/ 234 h 234"/>
                <a:gd name="T2" fmla="*/ 21 w 86"/>
                <a:gd name="T3" fmla="*/ 234 h 234"/>
                <a:gd name="T4" fmla="*/ 22 w 86"/>
                <a:gd name="T5" fmla="*/ 234 h 234"/>
                <a:gd name="T6" fmla="*/ 63 w 86"/>
                <a:gd name="T7" fmla="*/ 234 h 234"/>
                <a:gd name="T8" fmla="*/ 64 w 86"/>
                <a:gd name="T9" fmla="*/ 234 h 234"/>
                <a:gd name="T10" fmla="*/ 64 w 86"/>
                <a:gd name="T11" fmla="*/ 234 h 234"/>
                <a:gd name="T12" fmla="*/ 75 w 86"/>
                <a:gd name="T13" fmla="*/ 224 h 234"/>
                <a:gd name="T14" fmla="*/ 85 w 86"/>
                <a:gd name="T15" fmla="*/ 11 h 234"/>
                <a:gd name="T16" fmla="*/ 75 w 86"/>
                <a:gd name="T17" fmla="*/ 0 h 234"/>
                <a:gd name="T18" fmla="*/ 75 w 86"/>
                <a:gd name="T19" fmla="*/ 0 h 234"/>
                <a:gd name="T20" fmla="*/ 11 w 86"/>
                <a:gd name="T21" fmla="*/ 0 h 234"/>
                <a:gd name="T22" fmla="*/ 10 w 86"/>
                <a:gd name="T23" fmla="*/ 0 h 234"/>
                <a:gd name="T24" fmla="*/ 0 w 86"/>
                <a:gd name="T25" fmla="*/ 11 h 234"/>
                <a:gd name="T26" fmla="*/ 11 w 86"/>
                <a:gd name="T27" fmla="*/ 224 h 234"/>
                <a:gd name="T28" fmla="*/ 21 w 86"/>
                <a:gd name="T29" fmla="*/ 234 h 234"/>
                <a:gd name="T30" fmla="*/ 63 w 86"/>
                <a:gd name="T31" fmla="*/ 21 h 234"/>
                <a:gd name="T32" fmla="*/ 54 w 86"/>
                <a:gd name="T33" fmla="*/ 213 h 234"/>
                <a:gd name="T34" fmla="*/ 31 w 86"/>
                <a:gd name="T35" fmla="*/ 213 h 234"/>
                <a:gd name="T36" fmla="*/ 22 w 86"/>
                <a:gd name="T37" fmla="*/ 21 h 234"/>
                <a:gd name="T38" fmla="*/ 63 w 86"/>
                <a:gd name="T39" fmla="*/ 2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34">
                  <a:moveTo>
                    <a:pt x="21" y="234"/>
                  </a:moveTo>
                  <a:cubicBezTo>
                    <a:pt x="21" y="234"/>
                    <a:pt x="21" y="234"/>
                    <a:pt x="21" y="234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63" y="234"/>
                    <a:pt x="63" y="234"/>
                    <a:pt x="63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70" y="234"/>
                    <a:pt x="74" y="230"/>
                    <a:pt x="75" y="224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6" y="5"/>
                    <a:pt x="81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30"/>
                    <a:pt x="16" y="234"/>
                    <a:pt x="21" y="234"/>
                  </a:cubicBezTo>
                  <a:close/>
                  <a:moveTo>
                    <a:pt x="63" y="21"/>
                  </a:moveTo>
                  <a:cubicBezTo>
                    <a:pt x="54" y="213"/>
                    <a:pt x="54" y="213"/>
                    <a:pt x="54" y="213"/>
                  </a:cubicBezTo>
                  <a:cubicBezTo>
                    <a:pt x="31" y="213"/>
                    <a:pt x="31" y="213"/>
                    <a:pt x="31" y="213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6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13" name="Freeform 524">
              <a:extLst>
                <a:ext uri="{FF2B5EF4-FFF2-40B4-BE49-F238E27FC236}">
                  <a16:creationId xmlns:a16="http://schemas.microsoft.com/office/drawing/2014/main" id="{06CBC99D-1E57-4FE7-A8A9-E3FC4ABD0B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6" y="20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7D93050-9E4B-4C40-BD0D-92C23B3EBA25}"/>
              </a:ext>
            </a:extLst>
          </p:cNvPr>
          <p:cNvSpPr/>
          <p:nvPr/>
        </p:nvSpPr>
        <p:spPr>
          <a:xfrm>
            <a:off x="4963953" y="1226820"/>
            <a:ext cx="3214653" cy="3246120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br>
              <a:rPr lang="nb-NO"/>
            </a:br>
            <a:br>
              <a:rPr lang="nb-NO"/>
            </a:br>
            <a:br>
              <a:rPr lang="nb-NO"/>
            </a:br>
            <a:br>
              <a:rPr lang="nb-NO"/>
            </a:br>
            <a:br>
              <a:rPr lang="nb-NO"/>
            </a:br>
            <a:r>
              <a:rPr lang="nb-NO"/>
              <a:t>Faktura som ligger i </a:t>
            </a:r>
            <a:r>
              <a:rPr lang="nb-NO" err="1"/>
              <a:t>Basware</a:t>
            </a:r>
            <a:r>
              <a:rPr lang="nb-NO"/>
              <a:t> IP må tømmes fortløpende</a:t>
            </a:r>
          </a:p>
        </p:txBody>
      </p:sp>
      <p:grpSp>
        <p:nvGrpSpPr>
          <p:cNvPr id="15" name="Group 521">
            <a:extLst>
              <a:ext uri="{FF2B5EF4-FFF2-40B4-BE49-F238E27FC236}">
                <a16:creationId xmlns:a16="http://schemas.microsoft.com/office/drawing/2014/main" id="{ADDFE397-5CA8-4420-9B01-58ACB709EF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947457" y="1619084"/>
            <a:ext cx="1307107" cy="1307106"/>
            <a:chOff x="3476" y="2032"/>
            <a:chExt cx="340" cy="340"/>
          </a:xfrm>
          <a:solidFill>
            <a:schemeClr val="bg1"/>
          </a:solidFill>
        </p:grpSpPr>
        <p:sp>
          <p:nvSpPr>
            <p:cNvPr id="16" name="Freeform 522">
              <a:extLst>
                <a:ext uri="{FF2B5EF4-FFF2-40B4-BE49-F238E27FC236}">
                  <a16:creationId xmlns:a16="http://schemas.microsoft.com/office/drawing/2014/main" id="{C9268D24-5E88-47D1-A8EA-3B3D37D0DD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5" y="2266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2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2"/>
                  </a:move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17" name="Freeform 523">
              <a:extLst>
                <a:ext uri="{FF2B5EF4-FFF2-40B4-BE49-F238E27FC236}">
                  <a16:creationId xmlns:a16="http://schemas.microsoft.com/office/drawing/2014/main" id="{8AC9B193-35C2-40E9-94BD-1B0E1BC15A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7" y="2096"/>
              <a:ext cx="58" cy="155"/>
            </a:xfrm>
            <a:custGeom>
              <a:avLst/>
              <a:gdLst>
                <a:gd name="T0" fmla="*/ 21 w 86"/>
                <a:gd name="T1" fmla="*/ 234 h 234"/>
                <a:gd name="T2" fmla="*/ 21 w 86"/>
                <a:gd name="T3" fmla="*/ 234 h 234"/>
                <a:gd name="T4" fmla="*/ 22 w 86"/>
                <a:gd name="T5" fmla="*/ 234 h 234"/>
                <a:gd name="T6" fmla="*/ 63 w 86"/>
                <a:gd name="T7" fmla="*/ 234 h 234"/>
                <a:gd name="T8" fmla="*/ 64 w 86"/>
                <a:gd name="T9" fmla="*/ 234 h 234"/>
                <a:gd name="T10" fmla="*/ 64 w 86"/>
                <a:gd name="T11" fmla="*/ 234 h 234"/>
                <a:gd name="T12" fmla="*/ 75 w 86"/>
                <a:gd name="T13" fmla="*/ 224 h 234"/>
                <a:gd name="T14" fmla="*/ 85 w 86"/>
                <a:gd name="T15" fmla="*/ 11 h 234"/>
                <a:gd name="T16" fmla="*/ 75 w 86"/>
                <a:gd name="T17" fmla="*/ 0 h 234"/>
                <a:gd name="T18" fmla="*/ 75 w 86"/>
                <a:gd name="T19" fmla="*/ 0 h 234"/>
                <a:gd name="T20" fmla="*/ 11 w 86"/>
                <a:gd name="T21" fmla="*/ 0 h 234"/>
                <a:gd name="T22" fmla="*/ 10 w 86"/>
                <a:gd name="T23" fmla="*/ 0 h 234"/>
                <a:gd name="T24" fmla="*/ 0 w 86"/>
                <a:gd name="T25" fmla="*/ 11 h 234"/>
                <a:gd name="T26" fmla="*/ 11 w 86"/>
                <a:gd name="T27" fmla="*/ 224 h 234"/>
                <a:gd name="T28" fmla="*/ 21 w 86"/>
                <a:gd name="T29" fmla="*/ 234 h 234"/>
                <a:gd name="T30" fmla="*/ 63 w 86"/>
                <a:gd name="T31" fmla="*/ 21 h 234"/>
                <a:gd name="T32" fmla="*/ 54 w 86"/>
                <a:gd name="T33" fmla="*/ 213 h 234"/>
                <a:gd name="T34" fmla="*/ 31 w 86"/>
                <a:gd name="T35" fmla="*/ 213 h 234"/>
                <a:gd name="T36" fmla="*/ 22 w 86"/>
                <a:gd name="T37" fmla="*/ 21 h 234"/>
                <a:gd name="T38" fmla="*/ 63 w 86"/>
                <a:gd name="T39" fmla="*/ 2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34">
                  <a:moveTo>
                    <a:pt x="21" y="234"/>
                  </a:moveTo>
                  <a:cubicBezTo>
                    <a:pt x="21" y="234"/>
                    <a:pt x="21" y="234"/>
                    <a:pt x="21" y="234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63" y="234"/>
                    <a:pt x="63" y="234"/>
                    <a:pt x="63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70" y="234"/>
                    <a:pt x="74" y="230"/>
                    <a:pt x="75" y="224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6" y="5"/>
                    <a:pt x="81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30"/>
                    <a:pt x="16" y="234"/>
                    <a:pt x="21" y="234"/>
                  </a:cubicBezTo>
                  <a:close/>
                  <a:moveTo>
                    <a:pt x="63" y="21"/>
                  </a:moveTo>
                  <a:cubicBezTo>
                    <a:pt x="54" y="213"/>
                    <a:pt x="54" y="213"/>
                    <a:pt x="54" y="213"/>
                  </a:cubicBezTo>
                  <a:cubicBezTo>
                    <a:pt x="31" y="213"/>
                    <a:pt x="31" y="213"/>
                    <a:pt x="31" y="213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6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18" name="Freeform 524">
              <a:extLst>
                <a:ext uri="{FF2B5EF4-FFF2-40B4-BE49-F238E27FC236}">
                  <a16:creationId xmlns:a16="http://schemas.microsoft.com/office/drawing/2014/main" id="{3172BE92-0CB7-4C3D-823E-D27B4D5B03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6" y="20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288248342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9188B9-A6F7-440D-A2F0-8AF549149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9188B9-A6F7-440D-A2F0-8AF549149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9EEACF-30AA-062D-B233-32AA2BF7A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160168"/>
            <a:ext cx="8692833" cy="443709"/>
          </a:xfrm>
        </p:spPr>
        <p:txBody>
          <a:bodyPr vert="horz" wrap="square" anchor="t">
            <a:noAutofit/>
          </a:bodyPr>
          <a:lstStyle/>
          <a:p>
            <a:r>
              <a:rPr lang="nb-NO" sz="2800"/>
              <a:t>Videre opplæring – Innkjøper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5D12DDB-020C-DBAF-279A-E4D33857DB2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7913118"/>
              </p:ext>
            </p:extLst>
          </p:nvPr>
        </p:nvGraphicFramePr>
        <p:xfrm>
          <a:off x="301385" y="764863"/>
          <a:ext cx="8418747" cy="36137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16148841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lassholder for bilde 5" descr="Workbench - Work - Microsoft​ Edge">
            <a:extLst>
              <a:ext uri="{FF2B5EF4-FFF2-40B4-BE49-F238E27FC236}">
                <a16:creationId xmlns:a16="http://schemas.microsoft.com/office/drawing/2014/main" id="{A25F4CD4-DB18-001B-AEA1-7CE30BC370B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162840" y="229917"/>
            <a:ext cx="6615940" cy="430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89456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29CA59-FFB8-4E23-957A-6698C6C130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29CA59-FFB8-4E23-957A-6698C6C13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tel 9">
            <a:extLst>
              <a:ext uri="{FF2B5EF4-FFF2-40B4-BE49-F238E27FC236}">
                <a16:creationId xmlns:a16="http://schemas.microsoft.com/office/drawing/2014/main" id="{1A98950B-869E-F328-F68D-C5F5FB94E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09" y="133654"/>
            <a:ext cx="8229600" cy="646331"/>
          </a:xfrm>
        </p:spPr>
        <p:txBody>
          <a:bodyPr/>
          <a:lstStyle/>
          <a:p>
            <a:r>
              <a:rPr lang="nb-NO"/>
              <a:t>Brukerstøtte</a:t>
            </a:r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1A82D2DD-662D-C6C9-3FA5-66F7ABC73668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934919" y="1789299"/>
            <a:ext cx="3909447" cy="2106613"/>
          </a:xfrm>
        </p:spPr>
        <p:txBody>
          <a:bodyPr/>
          <a:lstStyle/>
          <a:p>
            <a:pPr marL="0" indent="0">
              <a:buNone/>
            </a:pPr>
            <a:r>
              <a:rPr lang="nb-NO" sz="2000" b="1">
                <a:solidFill>
                  <a:srgbClr val="014694"/>
                </a:solidFill>
              </a:rPr>
              <a:t>Bruk brukerstøtten:</a:t>
            </a:r>
          </a:p>
          <a:p>
            <a:pPr marL="342900" indent="-342900">
              <a:buAutoNum type="arabicPeriod"/>
            </a:pPr>
            <a:r>
              <a:rPr lang="nb-NO" sz="1600"/>
              <a:t>Lokale innkjøpere</a:t>
            </a:r>
          </a:p>
          <a:p>
            <a:pPr marL="342900" indent="-342900">
              <a:buAutoNum type="arabicPeriod"/>
            </a:pPr>
            <a:r>
              <a:rPr lang="nb-NO" sz="1600"/>
              <a:t>Prosessrådgiver på din enhet</a:t>
            </a:r>
          </a:p>
          <a:p>
            <a:pPr marL="342900" indent="-342900">
              <a:buAutoNum type="arabicPeriod"/>
            </a:pPr>
            <a:r>
              <a:rPr lang="nb-NO" sz="1600"/>
              <a:t>Åpne </a:t>
            </a:r>
            <a:r>
              <a:rPr lang="nb-NO" sz="1600" err="1"/>
              <a:t>Teamsforum</a:t>
            </a:r>
            <a:r>
              <a:rPr lang="nb-NO" sz="1600"/>
              <a:t> (fra nyttår) med sentrale ressurser</a:t>
            </a: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676EB2F5-3399-B5CE-C62A-8A636C75397C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 rotWithShape="1">
          <a:blip r:embed="rId5"/>
          <a:srcRect t="13732" b="6642"/>
          <a:stretch/>
        </p:blipFill>
        <p:spPr>
          <a:xfrm>
            <a:off x="74909" y="1603319"/>
            <a:ext cx="4706938" cy="210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7184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C1000-D606-359A-FFCB-FE7C6F960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aktpunkt - opplæ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B40BEB-414E-1333-0E6E-5F9772AB9D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92773" y="1443722"/>
            <a:ext cx="6199306" cy="1874904"/>
          </a:xfrm>
        </p:spPr>
        <p:txBody>
          <a:bodyPr/>
          <a:lstStyle/>
          <a:p>
            <a:pPr marL="0" indent="0">
              <a:buNone/>
            </a:pPr>
            <a:endParaRPr lang="nb-NO">
              <a:hlinkClick r:id="rId3"/>
            </a:endParaRPr>
          </a:p>
          <a:p>
            <a:pPr marL="0" indent="0">
              <a:buNone/>
            </a:pPr>
            <a:endParaRPr lang="nb-NO">
              <a:hlinkClick r:id="rId3"/>
            </a:endParaRPr>
          </a:p>
          <a:p>
            <a:pPr marL="0" indent="0">
              <a:buNone/>
            </a:pPr>
            <a:r>
              <a:rPr lang="nb-NO" sz="3600">
                <a:hlinkClick r:id="rId3"/>
              </a:rPr>
              <a:t>opplaering-bott-ol@ntnu.no</a:t>
            </a:r>
            <a:endParaRPr lang="nb-NO" sz="3600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6904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356067" y="1294088"/>
            <a:ext cx="579352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BOTT-samarbeidet.no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Alt tilgjengelig materiale utarbeidet av BOTT. Inkluderer prosesskart, rutinebeskrivelse, rollebeskrivelser, lenker til e-læringskurs og brukerskjemae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NTNU Intranettside for innføringsprosjekt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Siste nytt, generell informasjon om prosjektet, informasjonspakker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v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8"/>
              </a:rPr>
              <a:t>NTNU Intranettside for opplæring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Info om opplæringsstruktur, aktuell opplæring per rolle og info om registrering for e-læringsk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ørsmål om opplæring sendes til: </a:t>
            </a:r>
            <a:r>
              <a:rPr kumimoji="0" lang="nb-NO" sz="1800" b="0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/>
              </a:rPr>
              <a:t>opplaering-bott-ol@ntnu.no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E1B3C-D5AB-42BD-AC61-6A3FE6B47981}"/>
              </a:ext>
            </a:extLst>
          </p:cNvPr>
          <p:cNvSpPr/>
          <p:nvPr/>
        </p:nvSpPr>
        <p:spPr>
          <a:xfrm>
            <a:off x="6803409" y="1"/>
            <a:ext cx="2340591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Graphic 7" descr="Information outline">
            <a:extLst>
              <a:ext uri="{FF2B5EF4-FFF2-40B4-BE49-F238E27FC236}">
                <a16:creationId xmlns:a16="http://schemas.microsoft.com/office/drawing/2014/main" id="{E11C71C0-1DA1-4476-9978-16C3307FE8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98695" y="1596741"/>
            <a:ext cx="1950017" cy="195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48958BBE-904B-403B-B417-CE6453BC80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54044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48958BBE-904B-403B-B417-CE6453BC80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2E8FF8E9-25D1-4E70-8DD7-FB2FBDBEBE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lang="nb-NO" sz="1500">
              <a:solidFill>
                <a:prstClr val="white"/>
              </a:solidFill>
              <a:latin typeface="Poppins" panose="00000500000000000000" pitchFamily="50" charset="0"/>
              <a:ea typeface="Verdana" panose="020B0604030504040204" pitchFamily="34" charset="0"/>
              <a:cs typeface="Poppins" panose="00000500000000000000" pitchFamily="50" charset="0"/>
              <a:sym typeface="Poppins" panose="00000500000000000000" pitchFamily="50" charset="0"/>
            </a:endParaRPr>
          </a:p>
        </p:txBody>
      </p:sp>
      <p:sp>
        <p:nvSpPr>
          <p:cNvPr id="99" name="object 21">
            <a:extLst>
              <a:ext uri="{FF2B5EF4-FFF2-40B4-BE49-F238E27FC236}">
                <a16:creationId xmlns:a16="http://schemas.microsoft.com/office/drawing/2014/main" id="{9DBA8A11-F9C6-487C-A0C7-103ACD0F41B5}"/>
              </a:ext>
            </a:extLst>
          </p:cNvPr>
          <p:cNvSpPr txBox="1"/>
          <p:nvPr/>
        </p:nvSpPr>
        <p:spPr>
          <a:xfrm>
            <a:off x="3310094" y="3902649"/>
            <a:ext cx="1049464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indent="635" algn="ctr" defTabSz="914378">
              <a:defRPr/>
            </a:pPr>
            <a:r>
              <a:rPr lang="nb-NO" sz="600" spc="-10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  <a:sym typeface="Arial"/>
              </a:rPr>
              <a:t>Utbetaling godkjennes og utføres</a:t>
            </a:r>
            <a:endParaRPr lang="nb-NO" sz="600">
              <a:solidFill>
                <a:srgbClr val="000000"/>
              </a:solidFill>
              <a:latin typeface="Poppins" panose="00000800000000000000" charset="0"/>
              <a:cs typeface="Poppins" panose="00000800000000000000" charset="0"/>
              <a:sym typeface="Arial"/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B74A806A-1DFC-4F92-916C-721E08A31679}"/>
              </a:ext>
            </a:extLst>
          </p:cNvPr>
          <p:cNvGrpSpPr/>
          <p:nvPr/>
        </p:nvGrpSpPr>
        <p:grpSpPr>
          <a:xfrm>
            <a:off x="1743852" y="1467882"/>
            <a:ext cx="951031" cy="1099157"/>
            <a:chOff x="2132932" y="1259569"/>
            <a:chExt cx="1425712" cy="1647772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D1D6826-D683-40FD-BE15-FBEBA955A398}"/>
                </a:ext>
              </a:extLst>
            </p:cNvPr>
            <p:cNvGrpSpPr/>
            <p:nvPr/>
          </p:nvGrpSpPr>
          <p:grpSpPr>
            <a:xfrm>
              <a:off x="2320780" y="1682998"/>
              <a:ext cx="1171444" cy="1224343"/>
              <a:chOff x="3467100" y="1822704"/>
              <a:chExt cx="1417447" cy="1481455"/>
            </a:xfrm>
          </p:grpSpPr>
          <p:sp>
            <p:nvSpPr>
              <p:cNvPr id="161" name="object 17">
                <a:extLst>
                  <a:ext uri="{FF2B5EF4-FFF2-40B4-BE49-F238E27FC236}">
                    <a16:creationId xmlns:a16="http://schemas.microsoft.com/office/drawing/2014/main" id="{8A5F9346-0C7E-49B8-8A30-725E2C47F22E}"/>
                  </a:ext>
                </a:extLst>
              </p:cNvPr>
              <p:cNvSpPr/>
              <p:nvPr/>
            </p:nvSpPr>
            <p:spPr>
              <a:xfrm>
                <a:off x="3550284" y="1898904"/>
                <a:ext cx="1259840" cy="1405255"/>
              </a:xfrm>
              <a:custGeom>
                <a:avLst/>
                <a:gdLst/>
                <a:ahLst/>
                <a:cxnLst/>
                <a:rect l="l" t="t" r="r" b="b"/>
                <a:pathLst>
                  <a:path w="1259839" h="1405254">
                    <a:moveTo>
                      <a:pt x="556132" y="0"/>
                    </a:moveTo>
                    <a:lnTo>
                      <a:pt x="604293" y="1620"/>
                    </a:lnTo>
                    <a:lnTo>
                      <a:pt x="651582" y="6414"/>
                    </a:lnTo>
                    <a:lnTo>
                      <a:pt x="697894" y="14274"/>
                    </a:lnTo>
                    <a:lnTo>
                      <a:pt x="743124" y="25098"/>
                    </a:lnTo>
                    <a:lnTo>
                      <a:pt x="787169" y="38780"/>
                    </a:lnTo>
                    <a:lnTo>
                      <a:pt x="829923" y="55215"/>
                    </a:lnTo>
                    <a:lnTo>
                      <a:pt x="871281" y="74299"/>
                    </a:lnTo>
                    <a:lnTo>
                      <a:pt x="911140" y="95927"/>
                    </a:lnTo>
                    <a:lnTo>
                      <a:pt x="949394" y="119994"/>
                    </a:lnTo>
                    <a:lnTo>
                      <a:pt x="985938" y="146397"/>
                    </a:lnTo>
                    <a:lnTo>
                      <a:pt x="1020669" y="175029"/>
                    </a:lnTo>
                    <a:lnTo>
                      <a:pt x="1053480" y="205787"/>
                    </a:lnTo>
                    <a:lnTo>
                      <a:pt x="1084269" y="238566"/>
                    </a:lnTo>
                    <a:lnTo>
                      <a:pt x="1112929" y="273261"/>
                    </a:lnTo>
                    <a:lnTo>
                      <a:pt x="1139356" y="309767"/>
                    </a:lnTo>
                    <a:lnTo>
                      <a:pt x="1163447" y="347980"/>
                    </a:lnTo>
                    <a:lnTo>
                      <a:pt x="1185094" y="387794"/>
                    </a:lnTo>
                    <a:lnTo>
                      <a:pt x="1204196" y="429107"/>
                    </a:lnTo>
                    <a:lnTo>
                      <a:pt x="1220645" y="471812"/>
                    </a:lnTo>
                    <a:lnTo>
                      <a:pt x="1234339" y="515805"/>
                    </a:lnTo>
                    <a:lnTo>
                      <a:pt x="1245172" y="560981"/>
                    </a:lnTo>
                    <a:lnTo>
                      <a:pt x="1253039" y="607236"/>
                    </a:lnTo>
                    <a:lnTo>
                      <a:pt x="1257836" y="654465"/>
                    </a:lnTo>
                    <a:lnTo>
                      <a:pt x="1259459" y="702563"/>
                    </a:lnTo>
                    <a:lnTo>
                      <a:pt x="1257836" y="750662"/>
                    </a:lnTo>
                    <a:lnTo>
                      <a:pt x="1253039" y="797891"/>
                    </a:lnTo>
                    <a:lnTo>
                      <a:pt x="1245172" y="844146"/>
                    </a:lnTo>
                    <a:lnTo>
                      <a:pt x="1234339" y="889322"/>
                    </a:lnTo>
                    <a:lnTo>
                      <a:pt x="1220645" y="933315"/>
                    </a:lnTo>
                    <a:lnTo>
                      <a:pt x="1204196" y="976020"/>
                    </a:lnTo>
                    <a:lnTo>
                      <a:pt x="1185094" y="1017333"/>
                    </a:lnTo>
                    <a:lnTo>
                      <a:pt x="1163447" y="1057147"/>
                    </a:lnTo>
                    <a:lnTo>
                      <a:pt x="1139356" y="1095360"/>
                    </a:lnTo>
                    <a:lnTo>
                      <a:pt x="1112929" y="1131866"/>
                    </a:lnTo>
                    <a:lnTo>
                      <a:pt x="1084269" y="1166561"/>
                    </a:lnTo>
                    <a:lnTo>
                      <a:pt x="1053480" y="1199340"/>
                    </a:lnTo>
                    <a:lnTo>
                      <a:pt x="1020669" y="1230098"/>
                    </a:lnTo>
                    <a:lnTo>
                      <a:pt x="985938" y="1258730"/>
                    </a:lnTo>
                    <a:lnTo>
                      <a:pt x="949394" y="1285133"/>
                    </a:lnTo>
                    <a:lnTo>
                      <a:pt x="911140" y="1309200"/>
                    </a:lnTo>
                    <a:lnTo>
                      <a:pt x="871281" y="1330828"/>
                    </a:lnTo>
                    <a:lnTo>
                      <a:pt x="829923" y="1349912"/>
                    </a:lnTo>
                    <a:lnTo>
                      <a:pt x="787169" y="1366347"/>
                    </a:lnTo>
                    <a:lnTo>
                      <a:pt x="743124" y="1380029"/>
                    </a:lnTo>
                    <a:lnTo>
                      <a:pt x="697894" y="1390853"/>
                    </a:lnTo>
                    <a:lnTo>
                      <a:pt x="651582" y="1398713"/>
                    </a:lnTo>
                    <a:lnTo>
                      <a:pt x="604293" y="1403507"/>
                    </a:lnTo>
                    <a:lnTo>
                      <a:pt x="556132" y="1405128"/>
                    </a:lnTo>
                    <a:lnTo>
                      <a:pt x="506172" y="1403355"/>
                    </a:lnTo>
                    <a:lnTo>
                      <a:pt x="456808" y="1398092"/>
                    </a:lnTo>
                    <a:lnTo>
                      <a:pt x="408205" y="1389418"/>
                    </a:lnTo>
                    <a:lnTo>
                      <a:pt x="360525" y="1377414"/>
                    </a:lnTo>
                    <a:lnTo>
                      <a:pt x="313933" y="1362159"/>
                    </a:lnTo>
                    <a:lnTo>
                      <a:pt x="268593" y="1343733"/>
                    </a:lnTo>
                    <a:lnTo>
                      <a:pt x="224667" y="1322217"/>
                    </a:lnTo>
                    <a:lnTo>
                      <a:pt x="182321" y="1297691"/>
                    </a:lnTo>
                    <a:lnTo>
                      <a:pt x="141717" y="1270235"/>
                    </a:lnTo>
                    <a:lnTo>
                      <a:pt x="103019" y="1239929"/>
                    </a:lnTo>
                    <a:lnTo>
                      <a:pt x="66391" y="1206853"/>
                    </a:lnTo>
                    <a:lnTo>
                      <a:pt x="31997" y="1171088"/>
                    </a:lnTo>
                    <a:lnTo>
                      <a:pt x="0" y="1132713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62" name="object 18">
                <a:extLst>
                  <a:ext uri="{FF2B5EF4-FFF2-40B4-BE49-F238E27FC236}">
                    <a16:creationId xmlns:a16="http://schemas.microsoft.com/office/drawing/2014/main" id="{5915FAC5-08EE-4709-B402-D013A3EFF6F3}"/>
                  </a:ext>
                </a:extLst>
              </p:cNvPr>
              <p:cNvSpPr/>
              <p:nvPr/>
            </p:nvSpPr>
            <p:spPr>
              <a:xfrm>
                <a:off x="3467100" y="1962911"/>
                <a:ext cx="1278890" cy="1277620"/>
              </a:xfrm>
              <a:custGeom>
                <a:avLst/>
                <a:gdLst/>
                <a:ahLst/>
                <a:cxnLst/>
                <a:rect l="l" t="t" r="r" b="b"/>
                <a:pathLst>
                  <a:path w="1278889" h="1277620">
                    <a:moveTo>
                      <a:pt x="639317" y="0"/>
                    </a:moveTo>
                    <a:lnTo>
                      <a:pt x="687027" y="1751"/>
                    </a:lnTo>
                    <a:lnTo>
                      <a:pt x="733785" y="6923"/>
                    </a:lnTo>
                    <a:lnTo>
                      <a:pt x="779468" y="15392"/>
                    </a:lnTo>
                    <a:lnTo>
                      <a:pt x="823952" y="27034"/>
                    </a:lnTo>
                    <a:lnTo>
                      <a:pt x="867112" y="41727"/>
                    </a:lnTo>
                    <a:lnTo>
                      <a:pt x="908827" y="59346"/>
                    </a:lnTo>
                    <a:lnTo>
                      <a:pt x="948971" y="79769"/>
                    </a:lnTo>
                    <a:lnTo>
                      <a:pt x="987422" y="102871"/>
                    </a:lnTo>
                    <a:lnTo>
                      <a:pt x="1024055" y="128530"/>
                    </a:lnTo>
                    <a:lnTo>
                      <a:pt x="1058747" y="156622"/>
                    </a:lnTo>
                    <a:lnTo>
                      <a:pt x="1091374" y="187023"/>
                    </a:lnTo>
                    <a:lnTo>
                      <a:pt x="1121813" y="219610"/>
                    </a:lnTo>
                    <a:lnTo>
                      <a:pt x="1149940" y="254260"/>
                    </a:lnTo>
                    <a:lnTo>
                      <a:pt x="1175631" y="290849"/>
                    </a:lnTo>
                    <a:lnTo>
                      <a:pt x="1198763" y="329253"/>
                    </a:lnTo>
                    <a:lnTo>
                      <a:pt x="1219212" y="369350"/>
                    </a:lnTo>
                    <a:lnTo>
                      <a:pt x="1236854" y="411016"/>
                    </a:lnTo>
                    <a:lnTo>
                      <a:pt x="1251565" y="454127"/>
                    </a:lnTo>
                    <a:lnTo>
                      <a:pt x="1263223" y="498560"/>
                    </a:lnTo>
                    <a:lnTo>
                      <a:pt x="1271703" y="544191"/>
                    </a:lnTo>
                    <a:lnTo>
                      <a:pt x="1276882" y="590898"/>
                    </a:lnTo>
                    <a:lnTo>
                      <a:pt x="1278636" y="638555"/>
                    </a:lnTo>
                    <a:lnTo>
                      <a:pt x="1276882" y="686213"/>
                    </a:lnTo>
                    <a:lnTo>
                      <a:pt x="1271703" y="732920"/>
                    </a:lnTo>
                    <a:lnTo>
                      <a:pt x="1263223" y="778551"/>
                    </a:lnTo>
                    <a:lnTo>
                      <a:pt x="1251565" y="822984"/>
                    </a:lnTo>
                    <a:lnTo>
                      <a:pt x="1236854" y="866095"/>
                    </a:lnTo>
                    <a:lnTo>
                      <a:pt x="1219212" y="907761"/>
                    </a:lnTo>
                    <a:lnTo>
                      <a:pt x="1198763" y="947858"/>
                    </a:lnTo>
                    <a:lnTo>
                      <a:pt x="1175631" y="986262"/>
                    </a:lnTo>
                    <a:lnTo>
                      <a:pt x="1149940" y="1022851"/>
                    </a:lnTo>
                    <a:lnTo>
                      <a:pt x="1121813" y="1057501"/>
                    </a:lnTo>
                    <a:lnTo>
                      <a:pt x="1091374" y="1090088"/>
                    </a:lnTo>
                    <a:lnTo>
                      <a:pt x="1058747" y="1120489"/>
                    </a:lnTo>
                    <a:lnTo>
                      <a:pt x="1024055" y="1148581"/>
                    </a:lnTo>
                    <a:lnTo>
                      <a:pt x="987422" y="1174240"/>
                    </a:lnTo>
                    <a:lnTo>
                      <a:pt x="948971" y="1197342"/>
                    </a:lnTo>
                    <a:lnTo>
                      <a:pt x="908827" y="1217765"/>
                    </a:lnTo>
                    <a:lnTo>
                      <a:pt x="867112" y="1235384"/>
                    </a:lnTo>
                    <a:lnTo>
                      <a:pt x="823952" y="1250077"/>
                    </a:lnTo>
                    <a:lnTo>
                      <a:pt x="779468" y="1261719"/>
                    </a:lnTo>
                    <a:lnTo>
                      <a:pt x="733785" y="1270188"/>
                    </a:lnTo>
                    <a:lnTo>
                      <a:pt x="687027" y="1275360"/>
                    </a:lnTo>
                    <a:lnTo>
                      <a:pt x="639317" y="1277112"/>
                    </a:lnTo>
                    <a:lnTo>
                      <a:pt x="591608" y="1275360"/>
                    </a:lnTo>
                    <a:lnTo>
                      <a:pt x="544850" y="1270188"/>
                    </a:lnTo>
                    <a:lnTo>
                      <a:pt x="499167" y="1261719"/>
                    </a:lnTo>
                    <a:lnTo>
                      <a:pt x="454683" y="1250077"/>
                    </a:lnTo>
                    <a:lnTo>
                      <a:pt x="411523" y="1235384"/>
                    </a:lnTo>
                    <a:lnTo>
                      <a:pt x="369808" y="1217765"/>
                    </a:lnTo>
                    <a:lnTo>
                      <a:pt x="329664" y="1197342"/>
                    </a:lnTo>
                    <a:lnTo>
                      <a:pt x="291213" y="1174240"/>
                    </a:lnTo>
                    <a:lnTo>
                      <a:pt x="254580" y="1148581"/>
                    </a:lnTo>
                    <a:lnTo>
                      <a:pt x="219888" y="1120489"/>
                    </a:lnTo>
                    <a:lnTo>
                      <a:pt x="187261" y="1090088"/>
                    </a:lnTo>
                    <a:lnTo>
                      <a:pt x="156822" y="1057501"/>
                    </a:lnTo>
                    <a:lnTo>
                      <a:pt x="128695" y="1022851"/>
                    </a:lnTo>
                    <a:lnTo>
                      <a:pt x="103004" y="986262"/>
                    </a:lnTo>
                    <a:lnTo>
                      <a:pt x="79872" y="947858"/>
                    </a:lnTo>
                    <a:lnTo>
                      <a:pt x="59423" y="907761"/>
                    </a:lnTo>
                    <a:lnTo>
                      <a:pt x="41781" y="866095"/>
                    </a:lnTo>
                    <a:lnTo>
                      <a:pt x="27070" y="822984"/>
                    </a:lnTo>
                    <a:lnTo>
                      <a:pt x="15412" y="778551"/>
                    </a:lnTo>
                    <a:lnTo>
                      <a:pt x="6932" y="732920"/>
                    </a:lnTo>
                    <a:lnTo>
                      <a:pt x="1753" y="686213"/>
                    </a:lnTo>
                    <a:lnTo>
                      <a:pt x="0" y="638555"/>
                    </a:lnTo>
                    <a:lnTo>
                      <a:pt x="2217" y="585401"/>
                    </a:lnTo>
                    <a:lnTo>
                      <a:pt x="8812" y="532886"/>
                    </a:lnTo>
                    <a:lnTo>
                      <a:pt x="19696" y="481266"/>
                    </a:lnTo>
                    <a:lnTo>
                      <a:pt x="34782" y="430799"/>
                    </a:lnTo>
                    <a:lnTo>
                      <a:pt x="53981" y="381744"/>
                    </a:lnTo>
                    <a:lnTo>
                      <a:pt x="77206" y="334357"/>
                    </a:lnTo>
                    <a:lnTo>
                      <a:pt x="104368" y="288895"/>
                    </a:lnTo>
                    <a:lnTo>
                      <a:pt x="135382" y="245617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63" name="object 19">
                <a:extLst>
                  <a:ext uri="{FF2B5EF4-FFF2-40B4-BE49-F238E27FC236}">
                    <a16:creationId xmlns:a16="http://schemas.microsoft.com/office/drawing/2014/main" id="{A35FA38E-6B98-4505-B24C-2440BDB26295}"/>
                  </a:ext>
                </a:extLst>
              </p:cNvPr>
              <p:cNvSpPr/>
              <p:nvPr/>
            </p:nvSpPr>
            <p:spPr>
              <a:xfrm>
                <a:off x="4111752" y="1822704"/>
                <a:ext cx="772795" cy="1082675"/>
              </a:xfrm>
              <a:custGeom>
                <a:avLst/>
                <a:gdLst/>
                <a:ahLst/>
                <a:cxnLst/>
                <a:rect l="l" t="t" r="r" b="b"/>
                <a:pathLst>
                  <a:path w="772795" h="1082675">
                    <a:moveTo>
                      <a:pt x="0" y="0"/>
                    </a:moveTo>
                    <a:lnTo>
                      <a:pt x="48863" y="1521"/>
                    </a:lnTo>
                    <a:lnTo>
                      <a:pt x="96919" y="6026"/>
                    </a:lnTo>
                    <a:lnTo>
                      <a:pt x="144077" y="13424"/>
                    </a:lnTo>
                    <a:lnTo>
                      <a:pt x="190246" y="23624"/>
                    </a:lnTo>
                    <a:lnTo>
                      <a:pt x="235337" y="36535"/>
                    </a:lnTo>
                    <a:lnTo>
                      <a:pt x="279258" y="52067"/>
                    </a:lnTo>
                    <a:lnTo>
                      <a:pt x="321919" y="70128"/>
                    </a:lnTo>
                    <a:lnTo>
                      <a:pt x="363229" y="90629"/>
                    </a:lnTo>
                    <a:lnTo>
                      <a:pt x="403098" y="113479"/>
                    </a:lnTo>
                    <a:lnTo>
                      <a:pt x="441436" y="138587"/>
                    </a:lnTo>
                    <a:lnTo>
                      <a:pt x="478151" y="165862"/>
                    </a:lnTo>
                    <a:lnTo>
                      <a:pt x="513154" y="195214"/>
                    </a:lnTo>
                    <a:lnTo>
                      <a:pt x="546354" y="226552"/>
                    </a:lnTo>
                    <a:lnTo>
                      <a:pt x="577659" y="259785"/>
                    </a:lnTo>
                    <a:lnTo>
                      <a:pt x="606981" y="294823"/>
                    </a:lnTo>
                    <a:lnTo>
                      <a:pt x="634228" y="331575"/>
                    </a:lnTo>
                    <a:lnTo>
                      <a:pt x="659309" y="369951"/>
                    </a:lnTo>
                    <a:lnTo>
                      <a:pt x="682135" y="409859"/>
                    </a:lnTo>
                    <a:lnTo>
                      <a:pt x="702614" y="451210"/>
                    </a:lnTo>
                    <a:lnTo>
                      <a:pt x="720657" y="493912"/>
                    </a:lnTo>
                    <a:lnTo>
                      <a:pt x="736172" y="537875"/>
                    </a:lnTo>
                    <a:lnTo>
                      <a:pt x="749069" y="583008"/>
                    </a:lnTo>
                    <a:lnTo>
                      <a:pt x="759257" y="629221"/>
                    </a:lnTo>
                    <a:lnTo>
                      <a:pt x="766647" y="676422"/>
                    </a:lnTo>
                    <a:lnTo>
                      <a:pt x="771147" y="724522"/>
                    </a:lnTo>
                    <a:lnTo>
                      <a:pt x="772668" y="773430"/>
                    </a:lnTo>
                    <a:lnTo>
                      <a:pt x="770853" y="826453"/>
                    </a:lnTo>
                    <a:lnTo>
                      <a:pt x="765433" y="879103"/>
                    </a:lnTo>
                    <a:lnTo>
                      <a:pt x="756443" y="931195"/>
                    </a:lnTo>
                    <a:lnTo>
                      <a:pt x="743918" y="982547"/>
                    </a:lnTo>
                    <a:lnTo>
                      <a:pt x="727894" y="1032974"/>
                    </a:lnTo>
                    <a:lnTo>
                      <a:pt x="708406" y="1082294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64" name="object 40">
                <a:extLst>
                  <a:ext uri="{FF2B5EF4-FFF2-40B4-BE49-F238E27FC236}">
                    <a16:creationId xmlns:a16="http://schemas.microsoft.com/office/drawing/2014/main" id="{E6080EDE-739F-4DB8-8087-CF1A18D55234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565403" y="0"/>
                    </a:moveTo>
                    <a:lnTo>
                      <a:pt x="516614" y="2075"/>
                    </a:lnTo>
                    <a:lnTo>
                      <a:pt x="468978" y="8187"/>
                    </a:lnTo>
                    <a:lnTo>
                      <a:pt x="422665" y="18167"/>
                    </a:lnTo>
                    <a:lnTo>
                      <a:pt x="377844" y="31845"/>
                    </a:lnTo>
                    <a:lnTo>
                      <a:pt x="334686" y="49051"/>
                    </a:lnTo>
                    <a:lnTo>
                      <a:pt x="293360" y="69615"/>
                    </a:lnTo>
                    <a:lnTo>
                      <a:pt x="254034" y="93369"/>
                    </a:lnTo>
                    <a:lnTo>
                      <a:pt x="216881" y="120142"/>
                    </a:lnTo>
                    <a:lnTo>
                      <a:pt x="182067" y="149765"/>
                    </a:lnTo>
                    <a:lnTo>
                      <a:pt x="149765" y="182067"/>
                    </a:lnTo>
                    <a:lnTo>
                      <a:pt x="120142" y="216881"/>
                    </a:lnTo>
                    <a:lnTo>
                      <a:pt x="93369" y="254034"/>
                    </a:lnTo>
                    <a:lnTo>
                      <a:pt x="69615" y="293360"/>
                    </a:lnTo>
                    <a:lnTo>
                      <a:pt x="49051" y="334686"/>
                    </a:lnTo>
                    <a:lnTo>
                      <a:pt x="31845" y="377844"/>
                    </a:lnTo>
                    <a:lnTo>
                      <a:pt x="18167" y="422665"/>
                    </a:lnTo>
                    <a:lnTo>
                      <a:pt x="8187" y="468978"/>
                    </a:lnTo>
                    <a:lnTo>
                      <a:pt x="2075" y="516614"/>
                    </a:lnTo>
                    <a:lnTo>
                      <a:pt x="0" y="565404"/>
                    </a:lnTo>
                    <a:lnTo>
                      <a:pt x="2075" y="614193"/>
                    </a:lnTo>
                    <a:lnTo>
                      <a:pt x="8187" y="661829"/>
                    </a:lnTo>
                    <a:lnTo>
                      <a:pt x="18167" y="708142"/>
                    </a:lnTo>
                    <a:lnTo>
                      <a:pt x="31845" y="752963"/>
                    </a:lnTo>
                    <a:lnTo>
                      <a:pt x="49051" y="796121"/>
                    </a:lnTo>
                    <a:lnTo>
                      <a:pt x="69615" y="837447"/>
                    </a:lnTo>
                    <a:lnTo>
                      <a:pt x="93369" y="876773"/>
                    </a:lnTo>
                    <a:lnTo>
                      <a:pt x="120142" y="913926"/>
                    </a:lnTo>
                    <a:lnTo>
                      <a:pt x="149765" y="948740"/>
                    </a:lnTo>
                    <a:lnTo>
                      <a:pt x="182067" y="981042"/>
                    </a:lnTo>
                    <a:lnTo>
                      <a:pt x="216881" y="1010665"/>
                    </a:lnTo>
                    <a:lnTo>
                      <a:pt x="254034" y="1037438"/>
                    </a:lnTo>
                    <a:lnTo>
                      <a:pt x="293360" y="1061192"/>
                    </a:lnTo>
                    <a:lnTo>
                      <a:pt x="334686" y="1081756"/>
                    </a:lnTo>
                    <a:lnTo>
                      <a:pt x="377844" y="1098962"/>
                    </a:lnTo>
                    <a:lnTo>
                      <a:pt x="422665" y="1112640"/>
                    </a:lnTo>
                    <a:lnTo>
                      <a:pt x="468978" y="1122620"/>
                    </a:lnTo>
                    <a:lnTo>
                      <a:pt x="516614" y="1128732"/>
                    </a:lnTo>
                    <a:lnTo>
                      <a:pt x="565403" y="1130808"/>
                    </a:lnTo>
                    <a:lnTo>
                      <a:pt x="614193" y="1128732"/>
                    </a:lnTo>
                    <a:lnTo>
                      <a:pt x="661829" y="1122620"/>
                    </a:lnTo>
                    <a:lnTo>
                      <a:pt x="708142" y="1112640"/>
                    </a:lnTo>
                    <a:lnTo>
                      <a:pt x="752963" y="1098962"/>
                    </a:lnTo>
                    <a:lnTo>
                      <a:pt x="796121" y="1081756"/>
                    </a:lnTo>
                    <a:lnTo>
                      <a:pt x="837447" y="1061192"/>
                    </a:lnTo>
                    <a:lnTo>
                      <a:pt x="876773" y="1037438"/>
                    </a:lnTo>
                    <a:lnTo>
                      <a:pt x="913926" y="1010665"/>
                    </a:lnTo>
                    <a:lnTo>
                      <a:pt x="948740" y="981042"/>
                    </a:lnTo>
                    <a:lnTo>
                      <a:pt x="981042" y="948740"/>
                    </a:lnTo>
                    <a:lnTo>
                      <a:pt x="1010665" y="913926"/>
                    </a:lnTo>
                    <a:lnTo>
                      <a:pt x="1037438" y="876773"/>
                    </a:lnTo>
                    <a:lnTo>
                      <a:pt x="1061192" y="837447"/>
                    </a:lnTo>
                    <a:lnTo>
                      <a:pt x="1081756" y="796121"/>
                    </a:lnTo>
                    <a:lnTo>
                      <a:pt x="1098962" y="752963"/>
                    </a:lnTo>
                    <a:lnTo>
                      <a:pt x="1112640" y="708142"/>
                    </a:lnTo>
                    <a:lnTo>
                      <a:pt x="1122620" y="661829"/>
                    </a:lnTo>
                    <a:lnTo>
                      <a:pt x="1128732" y="614193"/>
                    </a:lnTo>
                    <a:lnTo>
                      <a:pt x="1130807" y="565404"/>
                    </a:lnTo>
                    <a:lnTo>
                      <a:pt x="1128732" y="516614"/>
                    </a:lnTo>
                    <a:lnTo>
                      <a:pt x="1122620" y="468978"/>
                    </a:lnTo>
                    <a:lnTo>
                      <a:pt x="1112640" y="422665"/>
                    </a:lnTo>
                    <a:lnTo>
                      <a:pt x="1098962" y="377844"/>
                    </a:lnTo>
                    <a:lnTo>
                      <a:pt x="1081756" y="334686"/>
                    </a:lnTo>
                    <a:lnTo>
                      <a:pt x="1061192" y="293360"/>
                    </a:lnTo>
                    <a:lnTo>
                      <a:pt x="1037438" y="254034"/>
                    </a:lnTo>
                    <a:lnTo>
                      <a:pt x="1010665" y="216881"/>
                    </a:lnTo>
                    <a:lnTo>
                      <a:pt x="981042" y="182067"/>
                    </a:lnTo>
                    <a:lnTo>
                      <a:pt x="948740" y="149765"/>
                    </a:lnTo>
                    <a:lnTo>
                      <a:pt x="913926" y="120142"/>
                    </a:lnTo>
                    <a:lnTo>
                      <a:pt x="876773" y="93369"/>
                    </a:lnTo>
                    <a:lnTo>
                      <a:pt x="837447" y="69615"/>
                    </a:lnTo>
                    <a:lnTo>
                      <a:pt x="796121" y="49051"/>
                    </a:lnTo>
                    <a:lnTo>
                      <a:pt x="752963" y="31845"/>
                    </a:lnTo>
                    <a:lnTo>
                      <a:pt x="708142" y="18167"/>
                    </a:lnTo>
                    <a:lnTo>
                      <a:pt x="661829" y="8187"/>
                    </a:lnTo>
                    <a:lnTo>
                      <a:pt x="614193" y="2075"/>
                    </a:lnTo>
                    <a:lnTo>
                      <a:pt x="56540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65" name="object 41">
                <a:extLst>
                  <a:ext uri="{FF2B5EF4-FFF2-40B4-BE49-F238E27FC236}">
                    <a16:creationId xmlns:a16="http://schemas.microsoft.com/office/drawing/2014/main" id="{B2E00561-8D6A-4B18-A4CD-E28647400BB5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0" y="565404"/>
                    </a:moveTo>
                    <a:lnTo>
                      <a:pt x="2075" y="516614"/>
                    </a:lnTo>
                    <a:lnTo>
                      <a:pt x="8187" y="468978"/>
                    </a:lnTo>
                    <a:lnTo>
                      <a:pt x="18167" y="422665"/>
                    </a:lnTo>
                    <a:lnTo>
                      <a:pt x="31845" y="377844"/>
                    </a:lnTo>
                    <a:lnTo>
                      <a:pt x="49051" y="334686"/>
                    </a:lnTo>
                    <a:lnTo>
                      <a:pt x="69615" y="293360"/>
                    </a:lnTo>
                    <a:lnTo>
                      <a:pt x="93369" y="254034"/>
                    </a:lnTo>
                    <a:lnTo>
                      <a:pt x="120142" y="216881"/>
                    </a:lnTo>
                    <a:lnTo>
                      <a:pt x="149765" y="182067"/>
                    </a:lnTo>
                    <a:lnTo>
                      <a:pt x="182067" y="149765"/>
                    </a:lnTo>
                    <a:lnTo>
                      <a:pt x="216881" y="120142"/>
                    </a:lnTo>
                    <a:lnTo>
                      <a:pt x="254034" y="93369"/>
                    </a:lnTo>
                    <a:lnTo>
                      <a:pt x="293360" y="69615"/>
                    </a:lnTo>
                    <a:lnTo>
                      <a:pt x="334686" y="49051"/>
                    </a:lnTo>
                    <a:lnTo>
                      <a:pt x="377844" y="31845"/>
                    </a:lnTo>
                    <a:lnTo>
                      <a:pt x="422665" y="18167"/>
                    </a:lnTo>
                    <a:lnTo>
                      <a:pt x="468978" y="8187"/>
                    </a:lnTo>
                    <a:lnTo>
                      <a:pt x="516614" y="2075"/>
                    </a:lnTo>
                    <a:lnTo>
                      <a:pt x="565403" y="0"/>
                    </a:lnTo>
                    <a:lnTo>
                      <a:pt x="614193" y="2075"/>
                    </a:lnTo>
                    <a:lnTo>
                      <a:pt x="661829" y="8187"/>
                    </a:lnTo>
                    <a:lnTo>
                      <a:pt x="708142" y="18167"/>
                    </a:lnTo>
                    <a:lnTo>
                      <a:pt x="752963" y="31845"/>
                    </a:lnTo>
                    <a:lnTo>
                      <a:pt x="796121" y="49051"/>
                    </a:lnTo>
                    <a:lnTo>
                      <a:pt x="837447" y="69615"/>
                    </a:lnTo>
                    <a:lnTo>
                      <a:pt x="876773" y="93369"/>
                    </a:lnTo>
                    <a:lnTo>
                      <a:pt x="913926" y="120142"/>
                    </a:lnTo>
                    <a:lnTo>
                      <a:pt x="948740" y="149765"/>
                    </a:lnTo>
                    <a:lnTo>
                      <a:pt x="981042" y="182067"/>
                    </a:lnTo>
                    <a:lnTo>
                      <a:pt x="1010665" y="216881"/>
                    </a:lnTo>
                    <a:lnTo>
                      <a:pt x="1037438" y="254034"/>
                    </a:lnTo>
                    <a:lnTo>
                      <a:pt x="1061192" y="293360"/>
                    </a:lnTo>
                    <a:lnTo>
                      <a:pt x="1081756" y="334686"/>
                    </a:lnTo>
                    <a:lnTo>
                      <a:pt x="1098962" y="377844"/>
                    </a:lnTo>
                    <a:lnTo>
                      <a:pt x="1112640" y="422665"/>
                    </a:lnTo>
                    <a:lnTo>
                      <a:pt x="1122620" y="468978"/>
                    </a:lnTo>
                    <a:lnTo>
                      <a:pt x="1128732" y="516614"/>
                    </a:lnTo>
                    <a:lnTo>
                      <a:pt x="1130807" y="565404"/>
                    </a:lnTo>
                    <a:lnTo>
                      <a:pt x="1128732" y="614193"/>
                    </a:lnTo>
                    <a:lnTo>
                      <a:pt x="1122620" y="661829"/>
                    </a:lnTo>
                    <a:lnTo>
                      <a:pt x="1112640" y="708142"/>
                    </a:lnTo>
                    <a:lnTo>
                      <a:pt x="1098962" y="752963"/>
                    </a:lnTo>
                    <a:lnTo>
                      <a:pt x="1081756" y="796121"/>
                    </a:lnTo>
                    <a:lnTo>
                      <a:pt x="1061192" y="837447"/>
                    </a:lnTo>
                    <a:lnTo>
                      <a:pt x="1037438" y="876773"/>
                    </a:lnTo>
                    <a:lnTo>
                      <a:pt x="1010665" y="913926"/>
                    </a:lnTo>
                    <a:lnTo>
                      <a:pt x="981042" y="948740"/>
                    </a:lnTo>
                    <a:lnTo>
                      <a:pt x="948740" y="981042"/>
                    </a:lnTo>
                    <a:lnTo>
                      <a:pt x="913926" y="1010665"/>
                    </a:lnTo>
                    <a:lnTo>
                      <a:pt x="876773" y="1037438"/>
                    </a:lnTo>
                    <a:lnTo>
                      <a:pt x="837447" y="1061192"/>
                    </a:lnTo>
                    <a:lnTo>
                      <a:pt x="796121" y="1081756"/>
                    </a:lnTo>
                    <a:lnTo>
                      <a:pt x="752963" y="1098962"/>
                    </a:lnTo>
                    <a:lnTo>
                      <a:pt x="708142" y="1112640"/>
                    </a:lnTo>
                    <a:lnTo>
                      <a:pt x="661829" y="1122620"/>
                    </a:lnTo>
                    <a:lnTo>
                      <a:pt x="614193" y="1128732"/>
                    </a:lnTo>
                    <a:lnTo>
                      <a:pt x="565403" y="1130808"/>
                    </a:lnTo>
                    <a:lnTo>
                      <a:pt x="516614" y="1128732"/>
                    </a:lnTo>
                    <a:lnTo>
                      <a:pt x="468978" y="1122620"/>
                    </a:lnTo>
                    <a:lnTo>
                      <a:pt x="422665" y="1112640"/>
                    </a:lnTo>
                    <a:lnTo>
                      <a:pt x="377844" y="1098962"/>
                    </a:lnTo>
                    <a:lnTo>
                      <a:pt x="334686" y="1081756"/>
                    </a:lnTo>
                    <a:lnTo>
                      <a:pt x="293360" y="1061192"/>
                    </a:lnTo>
                    <a:lnTo>
                      <a:pt x="254034" y="1037438"/>
                    </a:lnTo>
                    <a:lnTo>
                      <a:pt x="216881" y="1010665"/>
                    </a:lnTo>
                    <a:lnTo>
                      <a:pt x="182067" y="981042"/>
                    </a:lnTo>
                    <a:lnTo>
                      <a:pt x="149765" y="948740"/>
                    </a:lnTo>
                    <a:lnTo>
                      <a:pt x="120142" y="913926"/>
                    </a:lnTo>
                    <a:lnTo>
                      <a:pt x="93369" y="876773"/>
                    </a:lnTo>
                    <a:lnTo>
                      <a:pt x="69615" y="837447"/>
                    </a:lnTo>
                    <a:lnTo>
                      <a:pt x="49051" y="796121"/>
                    </a:lnTo>
                    <a:lnTo>
                      <a:pt x="31845" y="752963"/>
                    </a:lnTo>
                    <a:lnTo>
                      <a:pt x="18167" y="708142"/>
                    </a:lnTo>
                    <a:lnTo>
                      <a:pt x="8187" y="661829"/>
                    </a:lnTo>
                    <a:lnTo>
                      <a:pt x="2075" y="614193"/>
                    </a:lnTo>
                    <a:lnTo>
                      <a:pt x="0" y="565404"/>
                    </a:lnTo>
                    <a:close/>
                  </a:path>
                </a:pathLst>
              </a:custGeom>
              <a:ln w="19812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</p:grpSp>
        <p:sp>
          <p:nvSpPr>
            <p:cNvPr id="159" name="object 21">
              <a:extLst>
                <a:ext uri="{FF2B5EF4-FFF2-40B4-BE49-F238E27FC236}">
                  <a16:creationId xmlns:a16="http://schemas.microsoft.com/office/drawing/2014/main" id="{55170430-2069-4282-89D9-51C51342FA70}"/>
                </a:ext>
              </a:extLst>
            </p:cNvPr>
            <p:cNvSpPr txBox="1"/>
            <p:nvPr/>
          </p:nvSpPr>
          <p:spPr>
            <a:xfrm>
              <a:off x="2132932" y="1259569"/>
              <a:ext cx="1425712" cy="415256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 indent="635" algn="ctr" defTabSz="914378">
                <a:defRPr/>
              </a:pPr>
              <a:r>
                <a:rPr lang="nb-NO" sz="600" kern="0" spc="-10">
                  <a:solidFill>
                    <a:srgbClr val="000000"/>
                  </a:solidFill>
                  <a:latin typeface="Poppins" panose="00000800000000000000" charset="0"/>
                  <a:cs typeface="Poppins" panose="00000800000000000000" charset="0"/>
                  <a:sym typeface="Arial"/>
                </a:rPr>
                <a:t>Innkjøpsforespørsel attesteres og godkjennes </a:t>
              </a:r>
            </a:p>
          </p:txBody>
        </p:sp>
        <p:sp>
          <p:nvSpPr>
            <p:cNvPr id="160" name="object 66">
              <a:extLst>
                <a:ext uri="{FF2B5EF4-FFF2-40B4-BE49-F238E27FC236}">
                  <a16:creationId xmlns:a16="http://schemas.microsoft.com/office/drawing/2014/main" id="{E4AA228E-113C-4B4B-B319-E436C02C9929}"/>
                </a:ext>
              </a:extLst>
            </p:cNvPr>
            <p:cNvSpPr/>
            <p:nvPr/>
          </p:nvSpPr>
          <p:spPr>
            <a:xfrm>
              <a:off x="2613388" y="2200392"/>
              <a:ext cx="534975" cy="445470"/>
            </a:xfrm>
            <a:prstGeom prst="rect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sz="900" kern="0">
                <a:solidFill>
                  <a:srgbClr val="5C5C5C"/>
                </a:solidFill>
                <a:latin typeface="Open Sans"/>
                <a:cs typeface="Arial"/>
                <a:sym typeface="Arial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9708C4D-55E8-4036-80C8-679653F5536C}"/>
              </a:ext>
            </a:extLst>
          </p:cNvPr>
          <p:cNvGrpSpPr/>
          <p:nvPr/>
        </p:nvGrpSpPr>
        <p:grpSpPr>
          <a:xfrm>
            <a:off x="490057" y="1383957"/>
            <a:ext cx="816839" cy="1040998"/>
            <a:chOff x="595628" y="2492245"/>
            <a:chExt cx="1089119" cy="1387995"/>
          </a:xfrm>
        </p:grpSpPr>
        <p:sp>
          <p:nvSpPr>
            <p:cNvPr id="100" name="object 17">
              <a:extLst>
                <a:ext uri="{FF2B5EF4-FFF2-40B4-BE49-F238E27FC236}">
                  <a16:creationId xmlns:a16="http://schemas.microsoft.com/office/drawing/2014/main" id="{AEAFAC91-DC52-450F-9AF6-9AEAF147E4C9}"/>
                </a:ext>
              </a:extLst>
            </p:cNvPr>
            <p:cNvSpPr/>
            <p:nvPr/>
          </p:nvSpPr>
          <p:spPr>
            <a:xfrm>
              <a:off x="731432" y="2546690"/>
              <a:ext cx="900138" cy="1004036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sz="900" kern="0">
                <a:solidFill>
                  <a:srgbClr val="5C5C5C"/>
                </a:solidFill>
                <a:latin typeface="Open Sans"/>
                <a:cs typeface="Arial"/>
                <a:sym typeface="Arial"/>
              </a:endParaRPr>
            </a:p>
          </p:txBody>
        </p:sp>
        <p:sp>
          <p:nvSpPr>
            <p:cNvPr id="101" name="object 18">
              <a:extLst>
                <a:ext uri="{FF2B5EF4-FFF2-40B4-BE49-F238E27FC236}">
                  <a16:creationId xmlns:a16="http://schemas.microsoft.com/office/drawing/2014/main" id="{8B63DCBB-F135-4491-9C0B-896403DC6499}"/>
                </a:ext>
              </a:extLst>
            </p:cNvPr>
            <p:cNvSpPr/>
            <p:nvPr/>
          </p:nvSpPr>
          <p:spPr>
            <a:xfrm>
              <a:off x="671999" y="2592421"/>
              <a:ext cx="913749" cy="912843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sz="900" kern="0">
                <a:solidFill>
                  <a:srgbClr val="5C5C5C"/>
                </a:solidFill>
                <a:latin typeface="Open Sans"/>
                <a:cs typeface="Arial"/>
                <a:sym typeface="Arial"/>
              </a:endParaRPr>
            </a:p>
          </p:txBody>
        </p:sp>
        <p:sp>
          <p:nvSpPr>
            <p:cNvPr id="102" name="object 19">
              <a:extLst>
                <a:ext uri="{FF2B5EF4-FFF2-40B4-BE49-F238E27FC236}">
                  <a16:creationId xmlns:a16="http://schemas.microsoft.com/office/drawing/2014/main" id="{44AD6E90-543B-41DD-8EC5-F7647386E8F6}"/>
                </a:ext>
              </a:extLst>
            </p:cNvPr>
            <p:cNvSpPr/>
            <p:nvPr/>
          </p:nvSpPr>
          <p:spPr>
            <a:xfrm>
              <a:off x="1132595" y="2492245"/>
              <a:ext cx="552152" cy="773557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sz="900" kern="0">
                <a:solidFill>
                  <a:srgbClr val="5C5C5C"/>
                </a:solidFill>
                <a:latin typeface="Open Sans"/>
                <a:cs typeface="Arial"/>
                <a:sym typeface="Arial"/>
              </a:endParaRPr>
            </a:p>
          </p:txBody>
        </p:sp>
        <p:sp>
          <p:nvSpPr>
            <p:cNvPr id="104" name="object 40">
              <a:extLst>
                <a:ext uri="{FF2B5EF4-FFF2-40B4-BE49-F238E27FC236}">
                  <a16:creationId xmlns:a16="http://schemas.microsoft.com/office/drawing/2014/main" id="{DA601D76-B594-449D-9767-04B31991D7CB}"/>
                </a:ext>
              </a:extLst>
            </p:cNvPr>
            <p:cNvSpPr/>
            <p:nvPr/>
          </p:nvSpPr>
          <p:spPr>
            <a:xfrm>
              <a:off x="729164" y="2641966"/>
              <a:ext cx="808038" cy="808039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sz="900" kern="0">
                <a:solidFill>
                  <a:srgbClr val="5C5C5C"/>
                </a:solidFill>
                <a:latin typeface="Open Sans"/>
                <a:cs typeface="Arial"/>
                <a:sym typeface="Arial"/>
              </a:endParaRPr>
            </a:p>
          </p:txBody>
        </p:sp>
        <p:sp>
          <p:nvSpPr>
            <p:cNvPr id="108" name="object 41">
              <a:extLst>
                <a:ext uri="{FF2B5EF4-FFF2-40B4-BE49-F238E27FC236}">
                  <a16:creationId xmlns:a16="http://schemas.microsoft.com/office/drawing/2014/main" id="{0F3249D6-996F-43DA-80F1-F65FF5127845}"/>
                </a:ext>
              </a:extLst>
            </p:cNvPr>
            <p:cNvSpPr/>
            <p:nvPr/>
          </p:nvSpPr>
          <p:spPr>
            <a:xfrm>
              <a:off x="729164" y="2641966"/>
              <a:ext cx="808038" cy="808039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sz="900" kern="0">
                <a:solidFill>
                  <a:srgbClr val="5C5C5C"/>
                </a:solidFill>
                <a:latin typeface="Open Sans"/>
                <a:cs typeface="Arial"/>
                <a:sym typeface="Arial"/>
              </a:endParaRPr>
            </a:p>
          </p:txBody>
        </p:sp>
        <p:sp>
          <p:nvSpPr>
            <p:cNvPr id="111" name="object 21">
              <a:extLst>
                <a:ext uri="{FF2B5EF4-FFF2-40B4-BE49-F238E27FC236}">
                  <a16:creationId xmlns:a16="http://schemas.microsoft.com/office/drawing/2014/main" id="{EE0393E4-5AD5-4929-95C6-C93796B77C15}"/>
                </a:ext>
              </a:extLst>
            </p:cNvPr>
            <p:cNvSpPr txBox="1"/>
            <p:nvPr/>
          </p:nvSpPr>
          <p:spPr>
            <a:xfrm>
              <a:off x="595628" y="3634019"/>
              <a:ext cx="1066490" cy="2462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nb-NO"/>
              </a:defPPr>
              <a:lvl1pPr marL="12700" marR="5080" indent="635" algn="ctr">
                <a:defRPr sz="900" spc="-10">
                  <a:solidFill>
                    <a:srgbClr val="000000"/>
                  </a:solidFill>
                  <a:latin typeface="Open Sans"/>
                  <a:cs typeface="Verdana"/>
                </a:defRPr>
              </a:lvl1pPr>
            </a:lstStyle>
            <a:p>
              <a:pPr defTabSz="914378">
                <a:defRPr/>
              </a:pPr>
              <a:r>
                <a:rPr lang="nb-NO" sz="600">
                  <a:latin typeface="Poppins" panose="00000800000000000000" charset="0"/>
                  <a:cs typeface="Poppins" panose="00000800000000000000" charset="0"/>
                  <a:sym typeface="Arial"/>
                </a:rPr>
                <a:t>Innkjøpsbehov oppstår og meldes</a:t>
              </a:r>
            </a:p>
          </p:txBody>
        </p:sp>
        <p:sp>
          <p:nvSpPr>
            <p:cNvPr id="136" name="object 8">
              <a:extLst>
                <a:ext uri="{FF2B5EF4-FFF2-40B4-BE49-F238E27FC236}">
                  <a16:creationId xmlns:a16="http://schemas.microsoft.com/office/drawing/2014/main" id="{6C8F846F-B8A8-407A-B11D-9E2F2AAF1372}"/>
                </a:ext>
              </a:extLst>
            </p:cNvPr>
            <p:cNvSpPr/>
            <p:nvPr/>
          </p:nvSpPr>
          <p:spPr>
            <a:xfrm>
              <a:off x="811072" y="2848371"/>
              <a:ext cx="217532" cy="559556"/>
            </a:xfrm>
            <a:prstGeom prst="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>
                <a:solidFill>
                  <a:srgbClr val="FF0000"/>
                </a:solidFill>
                <a:latin typeface="Open Sans"/>
                <a:cs typeface="Arial"/>
                <a:sym typeface="Arial"/>
              </a:endParaRPr>
            </a:p>
          </p:txBody>
        </p:sp>
        <p:sp>
          <p:nvSpPr>
            <p:cNvPr id="155" name="object 40">
              <a:extLst>
                <a:ext uri="{FF2B5EF4-FFF2-40B4-BE49-F238E27FC236}">
                  <a16:creationId xmlns:a16="http://schemas.microsoft.com/office/drawing/2014/main" id="{D56E3DCE-C10B-49A9-861D-209116243759}"/>
                </a:ext>
              </a:extLst>
            </p:cNvPr>
            <p:cNvSpPr/>
            <p:nvPr/>
          </p:nvSpPr>
          <p:spPr>
            <a:xfrm>
              <a:off x="991935" y="2909001"/>
              <a:ext cx="528076" cy="441840"/>
            </a:xfrm>
            <a:prstGeom prst="rect">
              <a:avLst/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>
                <a:solidFill>
                  <a:srgbClr val="FF0000"/>
                </a:solidFill>
                <a:latin typeface="Open Sans"/>
                <a:cs typeface="Arial"/>
                <a:sym typeface="Arial"/>
              </a:endParaRPr>
            </a:p>
          </p:txBody>
        </p:sp>
        <p:sp>
          <p:nvSpPr>
            <p:cNvPr id="118" name="Freeform 538">
              <a:extLst>
                <a:ext uri="{FF2B5EF4-FFF2-40B4-BE49-F238E27FC236}">
                  <a16:creationId xmlns:a16="http://schemas.microsoft.com/office/drawing/2014/main" id="{E12761D6-6857-43F9-82BD-594C6A00A0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9072" y="3002696"/>
              <a:ext cx="152503" cy="132361"/>
            </a:xfrm>
            <a:custGeom>
              <a:avLst/>
              <a:gdLst>
                <a:gd name="T0" fmla="*/ 299 w 320"/>
                <a:gd name="T1" fmla="*/ 256 h 278"/>
                <a:gd name="T2" fmla="*/ 288 w 320"/>
                <a:gd name="T3" fmla="*/ 107 h 278"/>
                <a:gd name="T4" fmla="*/ 245 w 320"/>
                <a:gd name="T5" fmla="*/ 64 h 278"/>
                <a:gd name="T6" fmla="*/ 224 w 320"/>
                <a:gd name="T7" fmla="*/ 64 h 278"/>
                <a:gd name="T8" fmla="*/ 171 w 320"/>
                <a:gd name="T9" fmla="*/ 107 h 278"/>
                <a:gd name="T10" fmla="*/ 160 w 320"/>
                <a:gd name="T11" fmla="*/ 54 h 278"/>
                <a:gd name="T12" fmla="*/ 149 w 320"/>
                <a:gd name="T13" fmla="*/ 107 h 278"/>
                <a:gd name="T14" fmla="*/ 96 w 320"/>
                <a:gd name="T15" fmla="*/ 64 h 278"/>
                <a:gd name="T16" fmla="*/ 75 w 320"/>
                <a:gd name="T17" fmla="*/ 64 h 278"/>
                <a:gd name="T18" fmla="*/ 32 w 320"/>
                <a:gd name="T19" fmla="*/ 107 h 278"/>
                <a:gd name="T20" fmla="*/ 21 w 320"/>
                <a:gd name="T21" fmla="*/ 256 h 278"/>
                <a:gd name="T22" fmla="*/ 0 w 320"/>
                <a:gd name="T23" fmla="*/ 267 h 278"/>
                <a:gd name="T24" fmla="*/ 32 w 320"/>
                <a:gd name="T25" fmla="*/ 278 h 278"/>
                <a:gd name="T26" fmla="*/ 309 w 320"/>
                <a:gd name="T27" fmla="*/ 278 h 278"/>
                <a:gd name="T28" fmla="*/ 309 w 320"/>
                <a:gd name="T29" fmla="*/ 256 h 278"/>
                <a:gd name="T30" fmla="*/ 277 w 320"/>
                <a:gd name="T31" fmla="*/ 179 h 278"/>
                <a:gd name="T32" fmla="*/ 237 w 320"/>
                <a:gd name="T33" fmla="*/ 160 h 278"/>
                <a:gd name="T34" fmla="*/ 186 w 320"/>
                <a:gd name="T35" fmla="*/ 182 h 278"/>
                <a:gd name="T36" fmla="*/ 134 w 320"/>
                <a:gd name="T37" fmla="*/ 160 h 278"/>
                <a:gd name="T38" fmla="*/ 83 w 320"/>
                <a:gd name="T39" fmla="*/ 182 h 278"/>
                <a:gd name="T40" fmla="*/ 43 w 320"/>
                <a:gd name="T41" fmla="*/ 161 h 278"/>
                <a:gd name="T42" fmla="*/ 277 w 320"/>
                <a:gd name="T43" fmla="*/ 128 h 278"/>
                <a:gd name="T44" fmla="*/ 43 w 320"/>
                <a:gd name="T45" fmla="*/ 184 h 278"/>
                <a:gd name="T46" fmla="*/ 83 w 320"/>
                <a:gd name="T47" fmla="*/ 203 h 278"/>
                <a:gd name="T48" fmla="*/ 134 w 320"/>
                <a:gd name="T49" fmla="*/ 182 h 278"/>
                <a:gd name="T50" fmla="*/ 186 w 320"/>
                <a:gd name="T51" fmla="*/ 203 h 278"/>
                <a:gd name="T52" fmla="*/ 237 w 320"/>
                <a:gd name="T53" fmla="*/ 182 h 278"/>
                <a:gd name="T54" fmla="*/ 277 w 320"/>
                <a:gd name="T55" fmla="*/ 202 h 278"/>
                <a:gd name="T56" fmla="*/ 43 w 320"/>
                <a:gd name="T57" fmla="*/ 256 h 278"/>
                <a:gd name="T58" fmla="*/ 75 w 320"/>
                <a:gd name="T59" fmla="*/ 11 h 278"/>
                <a:gd name="T60" fmla="*/ 96 w 320"/>
                <a:gd name="T61" fmla="*/ 11 h 278"/>
                <a:gd name="T62" fmla="*/ 85 w 320"/>
                <a:gd name="T63" fmla="*/ 32 h 278"/>
                <a:gd name="T64" fmla="*/ 149 w 320"/>
                <a:gd name="T65" fmla="*/ 22 h 278"/>
                <a:gd name="T66" fmla="*/ 160 w 320"/>
                <a:gd name="T67" fmla="*/ 0 h 278"/>
                <a:gd name="T68" fmla="*/ 171 w 320"/>
                <a:gd name="T69" fmla="*/ 22 h 278"/>
                <a:gd name="T70" fmla="*/ 149 w 320"/>
                <a:gd name="T71" fmla="*/ 22 h 278"/>
                <a:gd name="T72" fmla="*/ 224 w 320"/>
                <a:gd name="T73" fmla="*/ 11 h 278"/>
                <a:gd name="T74" fmla="*/ 245 w 320"/>
                <a:gd name="T75" fmla="*/ 11 h 278"/>
                <a:gd name="T76" fmla="*/ 235 w 320"/>
                <a:gd name="T77" fmla="*/ 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0" h="278">
                  <a:moveTo>
                    <a:pt x="309" y="256"/>
                  </a:moveTo>
                  <a:cubicBezTo>
                    <a:pt x="299" y="256"/>
                    <a:pt x="299" y="256"/>
                    <a:pt x="299" y="256"/>
                  </a:cubicBezTo>
                  <a:cubicBezTo>
                    <a:pt x="299" y="118"/>
                    <a:pt x="299" y="118"/>
                    <a:pt x="299" y="118"/>
                  </a:cubicBezTo>
                  <a:cubicBezTo>
                    <a:pt x="299" y="112"/>
                    <a:pt x="294" y="107"/>
                    <a:pt x="288" y="107"/>
                  </a:cubicBezTo>
                  <a:cubicBezTo>
                    <a:pt x="245" y="107"/>
                    <a:pt x="245" y="107"/>
                    <a:pt x="245" y="107"/>
                  </a:cubicBezTo>
                  <a:cubicBezTo>
                    <a:pt x="245" y="64"/>
                    <a:pt x="245" y="64"/>
                    <a:pt x="245" y="64"/>
                  </a:cubicBezTo>
                  <a:cubicBezTo>
                    <a:pt x="245" y="58"/>
                    <a:pt x="241" y="54"/>
                    <a:pt x="235" y="54"/>
                  </a:cubicBezTo>
                  <a:cubicBezTo>
                    <a:pt x="229" y="54"/>
                    <a:pt x="224" y="58"/>
                    <a:pt x="224" y="64"/>
                  </a:cubicBezTo>
                  <a:cubicBezTo>
                    <a:pt x="224" y="107"/>
                    <a:pt x="224" y="107"/>
                    <a:pt x="224" y="107"/>
                  </a:cubicBezTo>
                  <a:cubicBezTo>
                    <a:pt x="171" y="107"/>
                    <a:pt x="171" y="107"/>
                    <a:pt x="171" y="107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71" y="58"/>
                    <a:pt x="166" y="54"/>
                    <a:pt x="160" y="54"/>
                  </a:cubicBezTo>
                  <a:cubicBezTo>
                    <a:pt x="154" y="54"/>
                    <a:pt x="149" y="58"/>
                    <a:pt x="149" y="64"/>
                  </a:cubicBezTo>
                  <a:cubicBezTo>
                    <a:pt x="149" y="107"/>
                    <a:pt x="149" y="107"/>
                    <a:pt x="149" y="107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58"/>
                    <a:pt x="91" y="54"/>
                    <a:pt x="85" y="54"/>
                  </a:cubicBezTo>
                  <a:cubicBezTo>
                    <a:pt x="79" y="54"/>
                    <a:pt x="75" y="58"/>
                    <a:pt x="75" y="64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32" y="107"/>
                    <a:pt x="32" y="107"/>
                    <a:pt x="32" y="107"/>
                  </a:cubicBezTo>
                  <a:cubicBezTo>
                    <a:pt x="26" y="107"/>
                    <a:pt x="21" y="112"/>
                    <a:pt x="21" y="118"/>
                  </a:cubicBezTo>
                  <a:cubicBezTo>
                    <a:pt x="21" y="256"/>
                    <a:pt x="21" y="256"/>
                    <a:pt x="21" y="256"/>
                  </a:cubicBezTo>
                  <a:cubicBezTo>
                    <a:pt x="11" y="256"/>
                    <a:pt x="11" y="256"/>
                    <a:pt x="11" y="256"/>
                  </a:cubicBezTo>
                  <a:cubicBezTo>
                    <a:pt x="5" y="256"/>
                    <a:pt x="0" y="261"/>
                    <a:pt x="0" y="267"/>
                  </a:cubicBezTo>
                  <a:cubicBezTo>
                    <a:pt x="0" y="273"/>
                    <a:pt x="5" y="278"/>
                    <a:pt x="11" y="278"/>
                  </a:cubicBezTo>
                  <a:cubicBezTo>
                    <a:pt x="32" y="278"/>
                    <a:pt x="32" y="278"/>
                    <a:pt x="32" y="278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309" y="278"/>
                    <a:pt x="309" y="278"/>
                    <a:pt x="309" y="278"/>
                  </a:cubicBezTo>
                  <a:cubicBezTo>
                    <a:pt x="315" y="278"/>
                    <a:pt x="320" y="273"/>
                    <a:pt x="320" y="267"/>
                  </a:cubicBezTo>
                  <a:cubicBezTo>
                    <a:pt x="320" y="261"/>
                    <a:pt x="315" y="256"/>
                    <a:pt x="309" y="256"/>
                  </a:cubicBezTo>
                  <a:close/>
                  <a:moveTo>
                    <a:pt x="277" y="128"/>
                  </a:moveTo>
                  <a:cubicBezTo>
                    <a:pt x="277" y="179"/>
                    <a:pt x="277" y="179"/>
                    <a:pt x="277" y="179"/>
                  </a:cubicBezTo>
                  <a:cubicBezTo>
                    <a:pt x="275" y="178"/>
                    <a:pt x="272" y="176"/>
                    <a:pt x="269" y="173"/>
                  </a:cubicBezTo>
                  <a:cubicBezTo>
                    <a:pt x="262" y="168"/>
                    <a:pt x="253" y="160"/>
                    <a:pt x="237" y="160"/>
                  </a:cubicBezTo>
                  <a:cubicBezTo>
                    <a:pt x="220" y="160"/>
                    <a:pt x="211" y="168"/>
                    <a:pt x="204" y="173"/>
                  </a:cubicBezTo>
                  <a:cubicBezTo>
                    <a:pt x="198" y="178"/>
                    <a:pt x="194" y="182"/>
                    <a:pt x="186" y="182"/>
                  </a:cubicBezTo>
                  <a:cubicBezTo>
                    <a:pt x="177" y="182"/>
                    <a:pt x="173" y="178"/>
                    <a:pt x="167" y="173"/>
                  </a:cubicBezTo>
                  <a:cubicBezTo>
                    <a:pt x="160" y="168"/>
                    <a:pt x="151" y="160"/>
                    <a:pt x="134" y="160"/>
                  </a:cubicBezTo>
                  <a:cubicBezTo>
                    <a:pt x="118" y="160"/>
                    <a:pt x="109" y="168"/>
                    <a:pt x="102" y="173"/>
                  </a:cubicBezTo>
                  <a:cubicBezTo>
                    <a:pt x="96" y="178"/>
                    <a:pt x="92" y="182"/>
                    <a:pt x="83" y="182"/>
                  </a:cubicBezTo>
                  <a:cubicBezTo>
                    <a:pt x="74" y="182"/>
                    <a:pt x="70" y="178"/>
                    <a:pt x="64" y="173"/>
                  </a:cubicBezTo>
                  <a:cubicBezTo>
                    <a:pt x="59" y="169"/>
                    <a:pt x="53" y="164"/>
                    <a:pt x="43" y="161"/>
                  </a:cubicBezTo>
                  <a:cubicBezTo>
                    <a:pt x="43" y="128"/>
                    <a:pt x="43" y="128"/>
                    <a:pt x="43" y="128"/>
                  </a:cubicBezTo>
                  <a:lnTo>
                    <a:pt x="277" y="128"/>
                  </a:lnTo>
                  <a:close/>
                  <a:moveTo>
                    <a:pt x="43" y="256"/>
                  </a:moveTo>
                  <a:cubicBezTo>
                    <a:pt x="43" y="184"/>
                    <a:pt x="43" y="184"/>
                    <a:pt x="43" y="184"/>
                  </a:cubicBezTo>
                  <a:cubicBezTo>
                    <a:pt x="45" y="185"/>
                    <a:pt x="48" y="187"/>
                    <a:pt x="51" y="190"/>
                  </a:cubicBezTo>
                  <a:cubicBezTo>
                    <a:pt x="58" y="196"/>
                    <a:pt x="66" y="203"/>
                    <a:pt x="83" y="203"/>
                  </a:cubicBezTo>
                  <a:cubicBezTo>
                    <a:pt x="100" y="203"/>
                    <a:pt x="109" y="196"/>
                    <a:pt x="116" y="190"/>
                  </a:cubicBezTo>
                  <a:cubicBezTo>
                    <a:pt x="121" y="185"/>
                    <a:pt x="125" y="182"/>
                    <a:pt x="134" y="182"/>
                  </a:cubicBezTo>
                  <a:cubicBezTo>
                    <a:pt x="143" y="182"/>
                    <a:pt x="147" y="185"/>
                    <a:pt x="153" y="190"/>
                  </a:cubicBezTo>
                  <a:cubicBezTo>
                    <a:pt x="160" y="196"/>
                    <a:pt x="169" y="203"/>
                    <a:pt x="186" y="203"/>
                  </a:cubicBezTo>
                  <a:cubicBezTo>
                    <a:pt x="202" y="203"/>
                    <a:pt x="211" y="196"/>
                    <a:pt x="218" y="190"/>
                  </a:cubicBezTo>
                  <a:cubicBezTo>
                    <a:pt x="224" y="185"/>
                    <a:pt x="228" y="182"/>
                    <a:pt x="237" y="182"/>
                  </a:cubicBezTo>
                  <a:cubicBezTo>
                    <a:pt x="246" y="182"/>
                    <a:pt x="250" y="185"/>
                    <a:pt x="256" y="190"/>
                  </a:cubicBezTo>
                  <a:cubicBezTo>
                    <a:pt x="261" y="194"/>
                    <a:pt x="267" y="200"/>
                    <a:pt x="277" y="202"/>
                  </a:cubicBezTo>
                  <a:cubicBezTo>
                    <a:pt x="277" y="256"/>
                    <a:pt x="277" y="256"/>
                    <a:pt x="277" y="256"/>
                  </a:cubicBezTo>
                  <a:lnTo>
                    <a:pt x="43" y="256"/>
                  </a:lnTo>
                  <a:close/>
                  <a:moveTo>
                    <a:pt x="75" y="22"/>
                  </a:moveTo>
                  <a:cubicBezTo>
                    <a:pt x="75" y="11"/>
                    <a:pt x="75" y="11"/>
                    <a:pt x="75" y="11"/>
                  </a:cubicBezTo>
                  <a:cubicBezTo>
                    <a:pt x="75" y="5"/>
                    <a:pt x="79" y="0"/>
                    <a:pt x="85" y="0"/>
                  </a:cubicBezTo>
                  <a:cubicBezTo>
                    <a:pt x="91" y="0"/>
                    <a:pt x="96" y="5"/>
                    <a:pt x="96" y="11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6" y="28"/>
                    <a:pt x="91" y="32"/>
                    <a:pt x="85" y="32"/>
                  </a:cubicBezTo>
                  <a:cubicBezTo>
                    <a:pt x="79" y="32"/>
                    <a:pt x="75" y="28"/>
                    <a:pt x="75" y="22"/>
                  </a:cubicBezTo>
                  <a:close/>
                  <a:moveTo>
                    <a:pt x="149" y="22"/>
                  </a:moveTo>
                  <a:cubicBezTo>
                    <a:pt x="149" y="11"/>
                    <a:pt x="149" y="11"/>
                    <a:pt x="149" y="11"/>
                  </a:cubicBezTo>
                  <a:cubicBezTo>
                    <a:pt x="149" y="5"/>
                    <a:pt x="154" y="0"/>
                    <a:pt x="160" y="0"/>
                  </a:cubicBezTo>
                  <a:cubicBezTo>
                    <a:pt x="166" y="0"/>
                    <a:pt x="171" y="5"/>
                    <a:pt x="171" y="11"/>
                  </a:cubicBezTo>
                  <a:cubicBezTo>
                    <a:pt x="171" y="22"/>
                    <a:pt x="171" y="22"/>
                    <a:pt x="171" y="22"/>
                  </a:cubicBezTo>
                  <a:cubicBezTo>
                    <a:pt x="171" y="28"/>
                    <a:pt x="166" y="32"/>
                    <a:pt x="160" y="32"/>
                  </a:cubicBezTo>
                  <a:cubicBezTo>
                    <a:pt x="154" y="32"/>
                    <a:pt x="149" y="28"/>
                    <a:pt x="149" y="22"/>
                  </a:cubicBezTo>
                  <a:close/>
                  <a:moveTo>
                    <a:pt x="224" y="22"/>
                  </a:moveTo>
                  <a:cubicBezTo>
                    <a:pt x="224" y="11"/>
                    <a:pt x="224" y="11"/>
                    <a:pt x="224" y="11"/>
                  </a:cubicBezTo>
                  <a:cubicBezTo>
                    <a:pt x="224" y="5"/>
                    <a:pt x="229" y="0"/>
                    <a:pt x="235" y="0"/>
                  </a:cubicBezTo>
                  <a:cubicBezTo>
                    <a:pt x="241" y="0"/>
                    <a:pt x="245" y="5"/>
                    <a:pt x="245" y="11"/>
                  </a:cubicBezTo>
                  <a:cubicBezTo>
                    <a:pt x="245" y="22"/>
                    <a:pt x="245" y="22"/>
                    <a:pt x="245" y="22"/>
                  </a:cubicBezTo>
                  <a:cubicBezTo>
                    <a:pt x="245" y="28"/>
                    <a:pt x="241" y="32"/>
                    <a:pt x="235" y="32"/>
                  </a:cubicBezTo>
                  <a:cubicBezTo>
                    <a:pt x="229" y="32"/>
                    <a:pt x="224" y="28"/>
                    <a:pt x="224" y="2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GB" sz="23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0364850-0399-48BF-87B3-28A55DDF1886}"/>
              </a:ext>
            </a:extLst>
          </p:cNvPr>
          <p:cNvGrpSpPr/>
          <p:nvPr/>
        </p:nvGrpSpPr>
        <p:grpSpPr>
          <a:xfrm>
            <a:off x="4849969" y="1794865"/>
            <a:ext cx="810012" cy="836166"/>
            <a:chOff x="3467100" y="1822704"/>
            <a:chExt cx="1417447" cy="1481455"/>
          </a:xfrm>
        </p:grpSpPr>
        <p:sp>
          <p:nvSpPr>
            <p:cNvPr id="58" name="object 17">
              <a:extLst>
                <a:ext uri="{FF2B5EF4-FFF2-40B4-BE49-F238E27FC236}">
                  <a16:creationId xmlns:a16="http://schemas.microsoft.com/office/drawing/2014/main" id="{6C400622-0BC6-406A-9510-D950B72E1754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685800">
                <a:defRPr/>
              </a:pPr>
              <a:endParaRPr sz="1350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59" name="object 18">
              <a:extLst>
                <a:ext uri="{FF2B5EF4-FFF2-40B4-BE49-F238E27FC236}">
                  <a16:creationId xmlns:a16="http://schemas.microsoft.com/office/drawing/2014/main" id="{3D05A35F-D96D-45CA-B526-B7FC8BC3A59A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685800">
                <a:defRPr/>
              </a:pPr>
              <a:endParaRPr sz="1350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60" name="object 19">
              <a:extLst>
                <a:ext uri="{FF2B5EF4-FFF2-40B4-BE49-F238E27FC236}">
                  <a16:creationId xmlns:a16="http://schemas.microsoft.com/office/drawing/2014/main" id="{35E79F99-7827-4DC7-A7ED-2C8E6903242B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685800">
                <a:defRPr/>
              </a:pPr>
              <a:endParaRPr sz="1350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61" name="object 40">
              <a:extLst>
                <a:ext uri="{FF2B5EF4-FFF2-40B4-BE49-F238E27FC236}">
                  <a16:creationId xmlns:a16="http://schemas.microsoft.com/office/drawing/2014/main" id="{F8B9161F-AF6D-42F7-9890-D71ECC775895}"/>
                </a:ext>
              </a:extLst>
            </p:cNvPr>
            <p:cNvSpPr/>
            <p:nvPr/>
          </p:nvSpPr>
          <p:spPr>
            <a:xfrm>
              <a:off x="3547108" y="2032255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685800">
                <a:defRPr/>
              </a:pPr>
              <a:endParaRPr sz="1350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62" name="object 41">
              <a:extLst>
                <a:ext uri="{FF2B5EF4-FFF2-40B4-BE49-F238E27FC236}">
                  <a16:creationId xmlns:a16="http://schemas.microsoft.com/office/drawing/2014/main" id="{C47E17A4-6BC3-40A3-9CF3-D428824EC6FB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defTabSz="685800">
                <a:defRPr/>
              </a:pPr>
              <a:endParaRPr sz="1350">
                <a:solidFill>
                  <a:srgbClr val="5C5C5C"/>
                </a:solidFill>
                <a:latin typeface="Open Sans"/>
              </a:endParaRPr>
            </a:p>
          </p:txBody>
        </p:sp>
      </p:grpSp>
      <p:sp>
        <p:nvSpPr>
          <p:cNvPr id="64" name="object 8">
            <a:extLst>
              <a:ext uri="{FF2B5EF4-FFF2-40B4-BE49-F238E27FC236}">
                <a16:creationId xmlns:a16="http://schemas.microsoft.com/office/drawing/2014/main" id="{3CC24DFB-6D38-4E45-B00E-D1361ADEDC94}"/>
              </a:ext>
            </a:extLst>
          </p:cNvPr>
          <p:cNvSpPr/>
          <p:nvPr/>
        </p:nvSpPr>
        <p:spPr>
          <a:xfrm flipH="1">
            <a:off x="5259197" y="2029354"/>
            <a:ext cx="161783" cy="429666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85800">
              <a:defRPr/>
            </a:pPr>
            <a:endParaRPr sz="1350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66" name="object 56">
            <a:extLst>
              <a:ext uri="{FF2B5EF4-FFF2-40B4-BE49-F238E27FC236}">
                <a16:creationId xmlns:a16="http://schemas.microsoft.com/office/drawing/2014/main" id="{0F4DDF44-6C5B-48AA-8115-21A785572CC8}"/>
              </a:ext>
            </a:extLst>
          </p:cNvPr>
          <p:cNvSpPr txBox="1"/>
          <p:nvPr/>
        </p:nvSpPr>
        <p:spPr>
          <a:xfrm>
            <a:off x="4765608" y="1520106"/>
            <a:ext cx="927131" cy="193803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algn="ctr" defTabSz="685800">
              <a:spcBef>
                <a:spcPts val="71"/>
              </a:spcBef>
              <a:defRPr/>
            </a:pPr>
            <a:r>
              <a:rPr lang="en-US" sz="600" spc="-4" err="1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rPr>
              <a:t>Vare</a:t>
            </a:r>
            <a:r>
              <a:rPr lang="en-US" sz="600" spc="-4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rPr>
              <a:t>- </a:t>
            </a:r>
            <a:r>
              <a:rPr lang="en-US" sz="600" spc="-4" err="1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rPr>
              <a:t>og</a:t>
            </a:r>
            <a:r>
              <a:rPr lang="en-US" sz="600" spc="-4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rPr>
              <a:t> </a:t>
            </a:r>
            <a:r>
              <a:rPr lang="en-US" sz="600" spc="-4" err="1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rPr>
              <a:t>tjenestemottak</a:t>
            </a:r>
            <a:r>
              <a:rPr lang="en-US" sz="600" spc="-4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rPr>
              <a:t> </a:t>
            </a:r>
            <a:r>
              <a:rPr lang="en-US" sz="600" spc="-4" err="1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rPr>
              <a:t>utføres</a:t>
            </a:r>
            <a:endParaRPr lang="en-US" sz="600" spc="-4">
              <a:solidFill>
                <a:srgbClr val="000000"/>
              </a:solidFill>
              <a:latin typeface="Poppins" panose="00000800000000000000" charset="0"/>
              <a:cs typeface="Poppins" panose="00000800000000000000" charset="0"/>
            </a:endParaRPr>
          </a:p>
        </p:txBody>
      </p:sp>
      <p:grpSp>
        <p:nvGrpSpPr>
          <p:cNvPr id="69" name="Group 107">
            <a:extLst>
              <a:ext uri="{FF2B5EF4-FFF2-40B4-BE49-F238E27FC236}">
                <a16:creationId xmlns:a16="http://schemas.microsoft.com/office/drawing/2014/main" id="{7F1F8A2E-376A-48DE-A018-5ED18F8DCB49}"/>
              </a:ext>
            </a:extLst>
          </p:cNvPr>
          <p:cNvGrpSpPr/>
          <p:nvPr/>
        </p:nvGrpSpPr>
        <p:grpSpPr>
          <a:xfrm>
            <a:off x="7800247" y="1816428"/>
            <a:ext cx="777208" cy="833522"/>
            <a:chOff x="4370555" y="2488639"/>
            <a:chExt cx="1171444" cy="1224343"/>
          </a:xfrm>
        </p:grpSpPr>
        <p:grpSp>
          <p:nvGrpSpPr>
            <p:cNvPr id="70" name="Group 108">
              <a:extLst>
                <a:ext uri="{FF2B5EF4-FFF2-40B4-BE49-F238E27FC236}">
                  <a16:creationId xmlns:a16="http://schemas.microsoft.com/office/drawing/2014/main" id="{4F178B57-2BCA-41EB-8FD9-AFE4D97E418B}"/>
                </a:ext>
              </a:extLst>
            </p:cNvPr>
            <p:cNvGrpSpPr/>
            <p:nvPr/>
          </p:nvGrpSpPr>
          <p:grpSpPr>
            <a:xfrm>
              <a:off x="4370555" y="2488639"/>
              <a:ext cx="1171444" cy="1224343"/>
              <a:chOff x="3467100" y="1822704"/>
              <a:chExt cx="1417447" cy="1481455"/>
            </a:xfrm>
          </p:grpSpPr>
          <p:sp>
            <p:nvSpPr>
              <p:cNvPr id="73" name="object 17">
                <a:extLst>
                  <a:ext uri="{FF2B5EF4-FFF2-40B4-BE49-F238E27FC236}">
                    <a16:creationId xmlns:a16="http://schemas.microsoft.com/office/drawing/2014/main" id="{41D0539C-295D-48CD-AFDF-D4CA5E836E15}"/>
                  </a:ext>
                </a:extLst>
              </p:cNvPr>
              <p:cNvSpPr/>
              <p:nvPr/>
            </p:nvSpPr>
            <p:spPr>
              <a:xfrm>
                <a:off x="3550284" y="1898904"/>
                <a:ext cx="1259840" cy="1405255"/>
              </a:xfrm>
              <a:custGeom>
                <a:avLst/>
                <a:gdLst/>
                <a:ahLst/>
                <a:cxnLst/>
                <a:rect l="l" t="t" r="r" b="b"/>
                <a:pathLst>
                  <a:path w="1259839" h="1405254">
                    <a:moveTo>
                      <a:pt x="556132" y="0"/>
                    </a:moveTo>
                    <a:lnTo>
                      <a:pt x="604293" y="1620"/>
                    </a:lnTo>
                    <a:lnTo>
                      <a:pt x="651582" y="6414"/>
                    </a:lnTo>
                    <a:lnTo>
                      <a:pt x="697894" y="14274"/>
                    </a:lnTo>
                    <a:lnTo>
                      <a:pt x="743124" y="25098"/>
                    </a:lnTo>
                    <a:lnTo>
                      <a:pt x="787169" y="38780"/>
                    </a:lnTo>
                    <a:lnTo>
                      <a:pt x="829923" y="55215"/>
                    </a:lnTo>
                    <a:lnTo>
                      <a:pt x="871281" y="74299"/>
                    </a:lnTo>
                    <a:lnTo>
                      <a:pt x="911140" y="95927"/>
                    </a:lnTo>
                    <a:lnTo>
                      <a:pt x="949394" y="119994"/>
                    </a:lnTo>
                    <a:lnTo>
                      <a:pt x="985938" y="146397"/>
                    </a:lnTo>
                    <a:lnTo>
                      <a:pt x="1020669" y="175029"/>
                    </a:lnTo>
                    <a:lnTo>
                      <a:pt x="1053480" y="205787"/>
                    </a:lnTo>
                    <a:lnTo>
                      <a:pt x="1084269" y="238566"/>
                    </a:lnTo>
                    <a:lnTo>
                      <a:pt x="1112929" y="273261"/>
                    </a:lnTo>
                    <a:lnTo>
                      <a:pt x="1139356" y="309767"/>
                    </a:lnTo>
                    <a:lnTo>
                      <a:pt x="1163447" y="347980"/>
                    </a:lnTo>
                    <a:lnTo>
                      <a:pt x="1185094" y="387794"/>
                    </a:lnTo>
                    <a:lnTo>
                      <a:pt x="1204196" y="429107"/>
                    </a:lnTo>
                    <a:lnTo>
                      <a:pt x="1220645" y="471812"/>
                    </a:lnTo>
                    <a:lnTo>
                      <a:pt x="1234339" y="515805"/>
                    </a:lnTo>
                    <a:lnTo>
                      <a:pt x="1245172" y="560981"/>
                    </a:lnTo>
                    <a:lnTo>
                      <a:pt x="1253039" y="607236"/>
                    </a:lnTo>
                    <a:lnTo>
                      <a:pt x="1257836" y="654465"/>
                    </a:lnTo>
                    <a:lnTo>
                      <a:pt x="1259459" y="702563"/>
                    </a:lnTo>
                    <a:lnTo>
                      <a:pt x="1257836" y="750662"/>
                    </a:lnTo>
                    <a:lnTo>
                      <a:pt x="1253039" y="797891"/>
                    </a:lnTo>
                    <a:lnTo>
                      <a:pt x="1245172" y="844146"/>
                    </a:lnTo>
                    <a:lnTo>
                      <a:pt x="1234339" y="889322"/>
                    </a:lnTo>
                    <a:lnTo>
                      <a:pt x="1220645" y="933315"/>
                    </a:lnTo>
                    <a:lnTo>
                      <a:pt x="1204196" y="976020"/>
                    </a:lnTo>
                    <a:lnTo>
                      <a:pt x="1185094" y="1017333"/>
                    </a:lnTo>
                    <a:lnTo>
                      <a:pt x="1163447" y="1057147"/>
                    </a:lnTo>
                    <a:lnTo>
                      <a:pt x="1139356" y="1095360"/>
                    </a:lnTo>
                    <a:lnTo>
                      <a:pt x="1112929" y="1131866"/>
                    </a:lnTo>
                    <a:lnTo>
                      <a:pt x="1084269" y="1166561"/>
                    </a:lnTo>
                    <a:lnTo>
                      <a:pt x="1053480" y="1199340"/>
                    </a:lnTo>
                    <a:lnTo>
                      <a:pt x="1020669" y="1230098"/>
                    </a:lnTo>
                    <a:lnTo>
                      <a:pt x="985938" y="1258730"/>
                    </a:lnTo>
                    <a:lnTo>
                      <a:pt x="949394" y="1285133"/>
                    </a:lnTo>
                    <a:lnTo>
                      <a:pt x="911140" y="1309200"/>
                    </a:lnTo>
                    <a:lnTo>
                      <a:pt x="871281" y="1330828"/>
                    </a:lnTo>
                    <a:lnTo>
                      <a:pt x="829923" y="1349912"/>
                    </a:lnTo>
                    <a:lnTo>
                      <a:pt x="787169" y="1366347"/>
                    </a:lnTo>
                    <a:lnTo>
                      <a:pt x="743124" y="1380029"/>
                    </a:lnTo>
                    <a:lnTo>
                      <a:pt x="697894" y="1390853"/>
                    </a:lnTo>
                    <a:lnTo>
                      <a:pt x="651582" y="1398713"/>
                    </a:lnTo>
                    <a:lnTo>
                      <a:pt x="604293" y="1403507"/>
                    </a:lnTo>
                    <a:lnTo>
                      <a:pt x="556132" y="1405128"/>
                    </a:lnTo>
                    <a:lnTo>
                      <a:pt x="506172" y="1403355"/>
                    </a:lnTo>
                    <a:lnTo>
                      <a:pt x="456808" y="1398092"/>
                    </a:lnTo>
                    <a:lnTo>
                      <a:pt x="408205" y="1389418"/>
                    </a:lnTo>
                    <a:lnTo>
                      <a:pt x="360525" y="1377414"/>
                    </a:lnTo>
                    <a:lnTo>
                      <a:pt x="313933" y="1362159"/>
                    </a:lnTo>
                    <a:lnTo>
                      <a:pt x="268593" y="1343733"/>
                    </a:lnTo>
                    <a:lnTo>
                      <a:pt x="224667" y="1322217"/>
                    </a:lnTo>
                    <a:lnTo>
                      <a:pt x="182321" y="1297691"/>
                    </a:lnTo>
                    <a:lnTo>
                      <a:pt x="141717" y="1270235"/>
                    </a:lnTo>
                    <a:lnTo>
                      <a:pt x="103019" y="1239929"/>
                    </a:lnTo>
                    <a:lnTo>
                      <a:pt x="66391" y="1206853"/>
                    </a:lnTo>
                    <a:lnTo>
                      <a:pt x="31997" y="1171088"/>
                    </a:lnTo>
                    <a:lnTo>
                      <a:pt x="0" y="1132713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74" name="object 18">
                <a:extLst>
                  <a:ext uri="{FF2B5EF4-FFF2-40B4-BE49-F238E27FC236}">
                    <a16:creationId xmlns:a16="http://schemas.microsoft.com/office/drawing/2014/main" id="{060B129A-1930-4700-A6BE-C45E796F430A}"/>
                  </a:ext>
                </a:extLst>
              </p:cNvPr>
              <p:cNvSpPr/>
              <p:nvPr/>
            </p:nvSpPr>
            <p:spPr>
              <a:xfrm>
                <a:off x="3467100" y="1962911"/>
                <a:ext cx="1278890" cy="1277620"/>
              </a:xfrm>
              <a:custGeom>
                <a:avLst/>
                <a:gdLst/>
                <a:ahLst/>
                <a:cxnLst/>
                <a:rect l="l" t="t" r="r" b="b"/>
                <a:pathLst>
                  <a:path w="1278889" h="1277620">
                    <a:moveTo>
                      <a:pt x="639317" y="0"/>
                    </a:moveTo>
                    <a:lnTo>
                      <a:pt x="687027" y="1751"/>
                    </a:lnTo>
                    <a:lnTo>
                      <a:pt x="733785" y="6923"/>
                    </a:lnTo>
                    <a:lnTo>
                      <a:pt x="779468" y="15392"/>
                    </a:lnTo>
                    <a:lnTo>
                      <a:pt x="823952" y="27034"/>
                    </a:lnTo>
                    <a:lnTo>
                      <a:pt x="867112" y="41727"/>
                    </a:lnTo>
                    <a:lnTo>
                      <a:pt x="908827" y="59346"/>
                    </a:lnTo>
                    <a:lnTo>
                      <a:pt x="948971" y="79769"/>
                    </a:lnTo>
                    <a:lnTo>
                      <a:pt x="987422" y="102871"/>
                    </a:lnTo>
                    <a:lnTo>
                      <a:pt x="1024055" y="128530"/>
                    </a:lnTo>
                    <a:lnTo>
                      <a:pt x="1058747" y="156622"/>
                    </a:lnTo>
                    <a:lnTo>
                      <a:pt x="1091374" y="187023"/>
                    </a:lnTo>
                    <a:lnTo>
                      <a:pt x="1121813" y="219610"/>
                    </a:lnTo>
                    <a:lnTo>
                      <a:pt x="1149940" y="254260"/>
                    </a:lnTo>
                    <a:lnTo>
                      <a:pt x="1175631" y="290849"/>
                    </a:lnTo>
                    <a:lnTo>
                      <a:pt x="1198763" y="329253"/>
                    </a:lnTo>
                    <a:lnTo>
                      <a:pt x="1219212" y="369350"/>
                    </a:lnTo>
                    <a:lnTo>
                      <a:pt x="1236854" y="411016"/>
                    </a:lnTo>
                    <a:lnTo>
                      <a:pt x="1251565" y="454127"/>
                    </a:lnTo>
                    <a:lnTo>
                      <a:pt x="1263223" y="498560"/>
                    </a:lnTo>
                    <a:lnTo>
                      <a:pt x="1271703" y="544191"/>
                    </a:lnTo>
                    <a:lnTo>
                      <a:pt x="1276882" y="590898"/>
                    </a:lnTo>
                    <a:lnTo>
                      <a:pt x="1278636" y="638555"/>
                    </a:lnTo>
                    <a:lnTo>
                      <a:pt x="1276882" y="686213"/>
                    </a:lnTo>
                    <a:lnTo>
                      <a:pt x="1271703" y="732920"/>
                    </a:lnTo>
                    <a:lnTo>
                      <a:pt x="1263223" y="778551"/>
                    </a:lnTo>
                    <a:lnTo>
                      <a:pt x="1251565" y="822984"/>
                    </a:lnTo>
                    <a:lnTo>
                      <a:pt x="1236854" y="866095"/>
                    </a:lnTo>
                    <a:lnTo>
                      <a:pt x="1219212" y="907761"/>
                    </a:lnTo>
                    <a:lnTo>
                      <a:pt x="1198763" y="947858"/>
                    </a:lnTo>
                    <a:lnTo>
                      <a:pt x="1175631" y="986262"/>
                    </a:lnTo>
                    <a:lnTo>
                      <a:pt x="1149940" y="1022851"/>
                    </a:lnTo>
                    <a:lnTo>
                      <a:pt x="1121813" y="1057501"/>
                    </a:lnTo>
                    <a:lnTo>
                      <a:pt x="1091374" y="1090088"/>
                    </a:lnTo>
                    <a:lnTo>
                      <a:pt x="1058747" y="1120489"/>
                    </a:lnTo>
                    <a:lnTo>
                      <a:pt x="1024055" y="1148581"/>
                    </a:lnTo>
                    <a:lnTo>
                      <a:pt x="987422" y="1174240"/>
                    </a:lnTo>
                    <a:lnTo>
                      <a:pt x="948971" y="1197342"/>
                    </a:lnTo>
                    <a:lnTo>
                      <a:pt x="908827" y="1217765"/>
                    </a:lnTo>
                    <a:lnTo>
                      <a:pt x="867112" y="1235384"/>
                    </a:lnTo>
                    <a:lnTo>
                      <a:pt x="823952" y="1250077"/>
                    </a:lnTo>
                    <a:lnTo>
                      <a:pt x="779468" y="1261719"/>
                    </a:lnTo>
                    <a:lnTo>
                      <a:pt x="733785" y="1270188"/>
                    </a:lnTo>
                    <a:lnTo>
                      <a:pt x="687027" y="1275360"/>
                    </a:lnTo>
                    <a:lnTo>
                      <a:pt x="639317" y="1277112"/>
                    </a:lnTo>
                    <a:lnTo>
                      <a:pt x="591608" y="1275360"/>
                    </a:lnTo>
                    <a:lnTo>
                      <a:pt x="544850" y="1270188"/>
                    </a:lnTo>
                    <a:lnTo>
                      <a:pt x="499167" y="1261719"/>
                    </a:lnTo>
                    <a:lnTo>
                      <a:pt x="454683" y="1250077"/>
                    </a:lnTo>
                    <a:lnTo>
                      <a:pt x="411523" y="1235384"/>
                    </a:lnTo>
                    <a:lnTo>
                      <a:pt x="369808" y="1217765"/>
                    </a:lnTo>
                    <a:lnTo>
                      <a:pt x="329664" y="1197342"/>
                    </a:lnTo>
                    <a:lnTo>
                      <a:pt x="291213" y="1174240"/>
                    </a:lnTo>
                    <a:lnTo>
                      <a:pt x="254580" y="1148581"/>
                    </a:lnTo>
                    <a:lnTo>
                      <a:pt x="219888" y="1120489"/>
                    </a:lnTo>
                    <a:lnTo>
                      <a:pt x="187261" y="1090088"/>
                    </a:lnTo>
                    <a:lnTo>
                      <a:pt x="156822" y="1057501"/>
                    </a:lnTo>
                    <a:lnTo>
                      <a:pt x="128695" y="1022851"/>
                    </a:lnTo>
                    <a:lnTo>
                      <a:pt x="103004" y="986262"/>
                    </a:lnTo>
                    <a:lnTo>
                      <a:pt x="79872" y="947858"/>
                    </a:lnTo>
                    <a:lnTo>
                      <a:pt x="59423" y="907761"/>
                    </a:lnTo>
                    <a:lnTo>
                      <a:pt x="41781" y="866095"/>
                    </a:lnTo>
                    <a:lnTo>
                      <a:pt x="27070" y="822984"/>
                    </a:lnTo>
                    <a:lnTo>
                      <a:pt x="15412" y="778551"/>
                    </a:lnTo>
                    <a:lnTo>
                      <a:pt x="6932" y="732920"/>
                    </a:lnTo>
                    <a:lnTo>
                      <a:pt x="1753" y="686213"/>
                    </a:lnTo>
                    <a:lnTo>
                      <a:pt x="0" y="638555"/>
                    </a:lnTo>
                    <a:lnTo>
                      <a:pt x="2217" y="585401"/>
                    </a:lnTo>
                    <a:lnTo>
                      <a:pt x="8812" y="532886"/>
                    </a:lnTo>
                    <a:lnTo>
                      <a:pt x="19696" y="481266"/>
                    </a:lnTo>
                    <a:lnTo>
                      <a:pt x="34782" y="430799"/>
                    </a:lnTo>
                    <a:lnTo>
                      <a:pt x="53981" y="381744"/>
                    </a:lnTo>
                    <a:lnTo>
                      <a:pt x="77206" y="334357"/>
                    </a:lnTo>
                    <a:lnTo>
                      <a:pt x="104368" y="288895"/>
                    </a:lnTo>
                    <a:lnTo>
                      <a:pt x="135382" y="245617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75" name="object 19">
                <a:extLst>
                  <a:ext uri="{FF2B5EF4-FFF2-40B4-BE49-F238E27FC236}">
                    <a16:creationId xmlns:a16="http://schemas.microsoft.com/office/drawing/2014/main" id="{BEA154BE-EB6B-4B60-B85B-E1680406F26C}"/>
                  </a:ext>
                </a:extLst>
              </p:cNvPr>
              <p:cNvSpPr/>
              <p:nvPr/>
            </p:nvSpPr>
            <p:spPr>
              <a:xfrm>
                <a:off x="4111752" y="1822704"/>
                <a:ext cx="772795" cy="1082675"/>
              </a:xfrm>
              <a:custGeom>
                <a:avLst/>
                <a:gdLst/>
                <a:ahLst/>
                <a:cxnLst/>
                <a:rect l="l" t="t" r="r" b="b"/>
                <a:pathLst>
                  <a:path w="772795" h="1082675">
                    <a:moveTo>
                      <a:pt x="0" y="0"/>
                    </a:moveTo>
                    <a:lnTo>
                      <a:pt x="48863" y="1521"/>
                    </a:lnTo>
                    <a:lnTo>
                      <a:pt x="96919" y="6026"/>
                    </a:lnTo>
                    <a:lnTo>
                      <a:pt x="144077" y="13424"/>
                    </a:lnTo>
                    <a:lnTo>
                      <a:pt x="190246" y="23624"/>
                    </a:lnTo>
                    <a:lnTo>
                      <a:pt x="235337" y="36535"/>
                    </a:lnTo>
                    <a:lnTo>
                      <a:pt x="279258" y="52067"/>
                    </a:lnTo>
                    <a:lnTo>
                      <a:pt x="321919" y="70128"/>
                    </a:lnTo>
                    <a:lnTo>
                      <a:pt x="363229" y="90629"/>
                    </a:lnTo>
                    <a:lnTo>
                      <a:pt x="403098" y="113479"/>
                    </a:lnTo>
                    <a:lnTo>
                      <a:pt x="441436" y="138587"/>
                    </a:lnTo>
                    <a:lnTo>
                      <a:pt x="478151" y="165862"/>
                    </a:lnTo>
                    <a:lnTo>
                      <a:pt x="513154" y="195214"/>
                    </a:lnTo>
                    <a:lnTo>
                      <a:pt x="546354" y="226552"/>
                    </a:lnTo>
                    <a:lnTo>
                      <a:pt x="577659" y="259785"/>
                    </a:lnTo>
                    <a:lnTo>
                      <a:pt x="606981" y="294823"/>
                    </a:lnTo>
                    <a:lnTo>
                      <a:pt x="634228" y="331575"/>
                    </a:lnTo>
                    <a:lnTo>
                      <a:pt x="659309" y="369951"/>
                    </a:lnTo>
                    <a:lnTo>
                      <a:pt x="682135" y="409859"/>
                    </a:lnTo>
                    <a:lnTo>
                      <a:pt x="702614" y="451210"/>
                    </a:lnTo>
                    <a:lnTo>
                      <a:pt x="720657" y="493912"/>
                    </a:lnTo>
                    <a:lnTo>
                      <a:pt x="736172" y="537875"/>
                    </a:lnTo>
                    <a:lnTo>
                      <a:pt x="749069" y="583008"/>
                    </a:lnTo>
                    <a:lnTo>
                      <a:pt x="759257" y="629221"/>
                    </a:lnTo>
                    <a:lnTo>
                      <a:pt x="766647" y="676422"/>
                    </a:lnTo>
                    <a:lnTo>
                      <a:pt x="771147" y="724522"/>
                    </a:lnTo>
                    <a:lnTo>
                      <a:pt x="772668" y="773430"/>
                    </a:lnTo>
                    <a:lnTo>
                      <a:pt x="770853" y="826453"/>
                    </a:lnTo>
                    <a:lnTo>
                      <a:pt x="765433" y="879103"/>
                    </a:lnTo>
                    <a:lnTo>
                      <a:pt x="756443" y="931195"/>
                    </a:lnTo>
                    <a:lnTo>
                      <a:pt x="743918" y="982547"/>
                    </a:lnTo>
                    <a:lnTo>
                      <a:pt x="727894" y="1032974"/>
                    </a:lnTo>
                    <a:lnTo>
                      <a:pt x="708406" y="1082294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76" name="object 40">
                <a:extLst>
                  <a:ext uri="{FF2B5EF4-FFF2-40B4-BE49-F238E27FC236}">
                    <a16:creationId xmlns:a16="http://schemas.microsoft.com/office/drawing/2014/main" id="{8263AC17-24B3-45BB-9FF0-376F4C6AD91E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565403" y="0"/>
                    </a:moveTo>
                    <a:lnTo>
                      <a:pt x="516614" y="2075"/>
                    </a:lnTo>
                    <a:lnTo>
                      <a:pt x="468978" y="8187"/>
                    </a:lnTo>
                    <a:lnTo>
                      <a:pt x="422665" y="18167"/>
                    </a:lnTo>
                    <a:lnTo>
                      <a:pt x="377844" y="31845"/>
                    </a:lnTo>
                    <a:lnTo>
                      <a:pt x="334686" y="49051"/>
                    </a:lnTo>
                    <a:lnTo>
                      <a:pt x="293360" y="69615"/>
                    </a:lnTo>
                    <a:lnTo>
                      <a:pt x="254034" y="93369"/>
                    </a:lnTo>
                    <a:lnTo>
                      <a:pt x="216881" y="120142"/>
                    </a:lnTo>
                    <a:lnTo>
                      <a:pt x="182067" y="149765"/>
                    </a:lnTo>
                    <a:lnTo>
                      <a:pt x="149765" y="182067"/>
                    </a:lnTo>
                    <a:lnTo>
                      <a:pt x="120142" y="216881"/>
                    </a:lnTo>
                    <a:lnTo>
                      <a:pt x="93369" y="254034"/>
                    </a:lnTo>
                    <a:lnTo>
                      <a:pt x="69615" y="293360"/>
                    </a:lnTo>
                    <a:lnTo>
                      <a:pt x="49051" y="334686"/>
                    </a:lnTo>
                    <a:lnTo>
                      <a:pt x="31845" y="377844"/>
                    </a:lnTo>
                    <a:lnTo>
                      <a:pt x="18167" y="422665"/>
                    </a:lnTo>
                    <a:lnTo>
                      <a:pt x="8187" y="468978"/>
                    </a:lnTo>
                    <a:lnTo>
                      <a:pt x="2075" y="516614"/>
                    </a:lnTo>
                    <a:lnTo>
                      <a:pt x="0" y="565404"/>
                    </a:lnTo>
                    <a:lnTo>
                      <a:pt x="2075" y="614193"/>
                    </a:lnTo>
                    <a:lnTo>
                      <a:pt x="8187" y="661829"/>
                    </a:lnTo>
                    <a:lnTo>
                      <a:pt x="18167" y="708142"/>
                    </a:lnTo>
                    <a:lnTo>
                      <a:pt x="31845" y="752963"/>
                    </a:lnTo>
                    <a:lnTo>
                      <a:pt x="49051" y="796121"/>
                    </a:lnTo>
                    <a:lnTo>
                      <a:pt x="69615" y="837447"/>
                    </a:lnTo>
                    <a:lnTo>
                      <a:pt x="93369" y="876773"/>
                    </a:lnTo>
                    <a:lnTo>
                      <a:pt x="120142" y="913926"/>
                    </a:lnTo>
                    <a:lnTo>
                      <a:pt x="149765" y="948740"/>
                    </a:lnTo>
                    <a:lnTo>
                      <a:pt x="182067" y="981042"/>
                    </a:lnTo>
                    <a:lnTo>
                      <a:pt x="216881" y="1010665"/>
                    </a:lnTo>
                    <a:lnTo>
                      <a:pt x="254034" y="1037438"/>
                    </a:lnTo>
                    <a:lnTo>
                      <a:pt x="293360" y="1061192"/>
                    </a:lnTo>
                    <a:lnTo>
                      <a:pt x="334686" y="1081756"/>
                    </a:lnTo>
                    <a:lnTo>
                      <a:pt x="377844" y="1098962"/>
                    </a:lnTo>
                    <a:lnTo>
                      <a:pt x="422665" y="1112640"/>
                    </a:lnTo>
                    <a:lnTo>
                      <a:pt x="468978" y="1122620"/>
                    </a:lnTo>
                    <a:lnTo>
                      <a:pt x="516614" y="1128732"/>
                    </a:lnTo>
                    <a:lnTo>
                      <a:pt x="565403" y="1130808"/>
                    </a:lnTo>
                    <a:lnTo>
                      <a:pt x="614193" y="1128732"/>
                    </a:lnTo>
                    <a:lnTo>
                      <a:pt x="661829" y="1122620"/>
                    </a:lnTo>
                    <a:lnTo>
                      <a:pt x="708142" y="1112640"/>
                    </a:lnTo>
                    <a:lnTo>
                      <a:pt x="752963" y="1098962"/>
                    </a:lnTo>
                    <a:lnTo>
                      <a:pt x="796121" y="1081756"/>
                    </a:lnTo>
                    <a:lnTo>
                      <a:pt x="837447" y="1061192"/>
                    </a:lnTo>
                    <a:lnTo>
                      <a:pt x="876773" y="1037438"/>
                    </a:lnTo>
                    <a:lnTo>
                      <a:pt x="913926" y="1010665"/>
                    </a:lnTo>
                    <a:lnTo>
                      <a:pt x="948740" y="981042"/>
                    </a:lnTo>
                    <a:lnTo>
                      <a:pt x="981042" y="948740"/>
                    </a:lnTo>
                    <a:lnTo>
                      <a:pt x="1010665" y="913926"/>
                    </a:lnTo>
                    <a:lnTo>
                      <a:pt x="1037438" y="876773"/>
                    </a:lnTo>
                    <a:lnTo>
                      <a:pt x="1061192" y="837447"/>
                    </a:lnTo>
                    <a:lnTo>
                      <a:pt x="1081756" y="796121"/>
                    </a:lnTo>
                    <a:lnTo>
                      <a:pt x="1098962" y="752963"/>
                    </a:lnTo>
                    <a:lnTo>
                      <a:pt x="1112640" y="708142"/>
                    </a:lnTo>
                    <a:lnTo>
                      <a:pt x="1122620" y="661829"/>
                    </a:lnTo>
                    <a:lnTo>
                      <a:pt x="1128732" y="614193"/>
                    </a:lnTo>
                    <a:lnTo>
                      <a:pt x="1130807" y="565404"/>
                    </a:lnTo>
                    <a:lnTo>
                      <a:pt x="1128732" y="516614"/>
                    </a:lnTo>
                    <a:lnTo>
                      <a:pt x="1122620" y="468978"/>
                    </a:lnTo>
                    <a:lnTo>
                      <a:pt x="1112640" y="422665"/>
                    </a:lnTo>
                    <a:lnTo>
                      <a:pt x="1098962" y="377844"/>
                    </a:lnTo>
                    <a:lnTo>
                      <a:pt x="1081756" y="334686"/>
                    </a:lnTo>
                    <a:lnTo>
                      <a:pt x="1061192" y="293360"/>
                    </a:lnTo>
                    <a:lnTo>
                      <a:pt x="1037438" y="254034"/>
                    </a:lnTo>
                    <a:lnTo>
                      <a:pt x="1010665" y="216881"/>
                    </a:lnTo>
                    <a:lnTo>
                      <a:pt x="981042" y="182067"/>
                    </a:lnTo>
                    <a:lnTo>
                      <a:pt x="948740" y="149765"/>
                    </a:lnTo>
                    <a:lnTo>
                      <a:pt x="913926" y="120142"/>
                    </a:lnTo>
                    <a:lnTo>
                      <a:pt x="876773" y="93369"/>
                    </a:lnTo>
                    <a:lnTo>
                      <a:pt x="837447" y="69615"/>
                    </a:lnTo>
                    <a:lnTo>
                      <a:pt x="796121" y="49051"/>
                    </a:lnTo>
                    <a:lnTo>
                      <a:pt x="752963" y="31845"/>
                    </a:lnTo>
                    <a:lnTo>
                      <a:pt x="708142" y="18167"/>
                    </a:lnTo>
                    <a:lnTo>
                      <a:pt x="661829" y="8187"/>
                    </a:lnTo>
                    <a:lnTo>
                      <a:pt x="614193" y="2075"/>
                    </a:lnTo>
                    <a:lnTo>
                      <a:pt x="56540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77" name="object 41">
                <a:extLst>
                  <a:ext uri="{FF2B5EF4-FFF2-40B4-BE49-F238E27FC236}">
                    <a16:creationId xmlns:a16="http://schemas.microsoft.com/office/drawing/2014/main" id="{69EBF993-B5EE-4AE7-A138-5D6C5FFBAE11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0" y="565404"/>
                    </a:moveTo>
                    <a:lnTo>
                      <a:pt x="2075" y="516614"/>
                    </a:lnTo>
                    <a:lnTo>
                      <a:pt x="8187" y="468978"/>
                    </a:lnTo>
                    <a:lnTo>
                      <a:pt x="18167" y="422665"/>
                    </a:lnTo>
                    <a:lnTo>
                      <a:pt x="31845" y="377844"/>
                    </a:lnTo>
                    <a:lnTo>
                      <a:pt x="49051" y="334686"/>
                    </a:lnTo>
                    <a:lnTo>
                      <a:pt x="69615" y="293360"/>
                    </a:lnTo>
                    <a:lnTo>
                      <a:pt x="93369" y="254034"/>
                    </a:lnTo>
                    <a:lnTo>
                      <a:pt x="120142" y="216881"/>
                    </a:lnTo>
                    <a:lnTo>
                      <a:pt x="149765" y="182067"/>
                    </a:lnTo>
                    <a:lnTo>
                      <a:pt x="182067" y="149765"/>
                    </a:lnTo>
                    <a:lnTo>
                      <a:pt x="216881" y="120142"/>
                    </a:lnTo>
                    <a:lnTo>
                      <a:pt x="254034" y="93369"/>
                    </a:lnTo>
                    <a:lnTo>
                      <a:pt x="293360" y="69615"/>
                    </a:lnTo>
                    <a:lnTo>
                      <a:pt x="334686" y="49051"/>
                    </a:lnTo>
                    <a:lnTo>
                      <a:pt x="377844" y="31845"/>
                    </a:lnTo>
                    <a:lnTo>
                      <a:pt x="422665" y="18167"/>
                    </a:lnTo>
                    <a:lnTo>
                      <a:pt x="468978" y="8187"/>
                    </a:lnTo>
                    <a:lnTo>
                      <a:pt x="516614" y="2075"/>
                    </a:lnTo>
                    <a:lnTo>
                      <a:pt x="565403" y="0"/>
                    </a:lnTo>
                    <a:lnTo>
                      <a:pt x="614193" y="2075"/>
                    </a:lnTo>
                    <a:lnTo>
                      <a:pt x="661829" y="8187"/>
                    </a:lnTo>
                    <a:lnTo>
                      <a:pt x="708142" y="18167"/>
                    </a:lnTo>
                    <a:lnTo>
                      <a:pt x="752963" y="31845"/>
                    </a:lnTo>
                    <a:lnTo>
                      <a:pt x="796121" y="49051"/>
                    </a:lnTo>
                    <a:lnTo>
                      <a:pt x="837447" y="69615"/>
                    </a:lnTo>
                    <a:lnTo>
                      <a:pt x="876773" y="93369"/>
                    </a:lnTo>
                    <a:lnTo>
                      <a:pt x="913926" y="120142"/>
                    </a:lnTo>
                    <a:lnTo>
                      <a:pt x="948740" y="149765"/>
                    </a:lnTo>
                    <a:lnTo>
                      <a:pt x="981042" y="182067"/>
                    </a:lnTo>
                    <a:lnTo>
                      <a:pt x="1010665" y="216881"/>
                    </a:lnTo>
                    <a:lnTo>
                      <a:pt x="1037438" y="254034"/>
                    </a:lnTo>
                    <a:lnTo>
                      <a:pt x="1061192" y="293360"/>
                    </a:lnTo>
                    <a:lnTo>
                      <a:pt x="1081756" y="334686"/>
                    </a:lnTo>
                    <a:lnTo>
                      <a:pt x="1098962" y="377844"/>
                    </a:lnTo>
                    <a:lnTo>
                      <a:pt x="1112640" y="422665"/>
                    </a:lnTo>
                    <a:lnTo>
                      <a:pt x="1122620" y="468978"/>
                    </a:lnTo>
                    <a:lnTo>
                      <a:pt x="1128732" y="516614"/>
                    </a:lnTo>
                    <a:lnTo>
                      <a:pt x="1130807" y="565404"/>
                    </a:lnTo>
                    <a:lnTo>
                      <a:pt x="1128732" y="614193"/>
                    </a:lnTo>
                    <a:lnTo>
                      <a:pt x="1122620" y="661829"/>
                    </a:lnTo>
                    <a:lnTo>
                      <a:pt x="1112640" y="708142"/>
                    </a:lnTo>
                    <a:lnTo>
                      <a:pt x="1098962" y="752963"/>
                    </a:lnTo>
                    <a:lnTo>
                      <a:pt x="1081756" y="796121"/>
                    </a:lnTo>
                    <a:lnTo>
                      <a:pt x="1061192" y="837447"/>
                    </a:lnTo>
                    <a:lnTo>
                      <a:pt x="1037438" y="876773"/>
                    </a:lnTo>
                    <a:lnTo>
                      <a:pt x="1010665" y="913926"/>
                    </a:lnTo>
                    <a:lnTo>
                      <a:pt x="981042" y="948740"/>
                    </a:lnTo>
                    <a:lnTo>
                      <a:pt x="948740" y="981042"/>
                    </a:lnTo>
                    <a:lnTo>
                      <a:pt x="913926" y="1010665"/>
                    </a:lnTo>
                    <a:lnTo>
                      <a:pt x="876773" y="1037438"/>
                    </a:lnTo>
                    <a:lnTo>
                      <a:pt x="837447" y="1061192"/>
                    </a:lnTo>
                    <a:lnTo>
                      <a:pt x="796121" y="1081756"/>
                    </a:lnTo>
                    <a:lnTo>
                      <a:pt x="752963" y="1098962"/>
                    </a:lnTo>
                    <a:lnTo>
                      <a:pt x="708142" y="1112640"/>
                    </a:lnTo>
                    <a:lnTo>
                      <a:pt x="661829" y="1122620"/>
                    </a:lnTo>
                    <a:lnTo>
                      <a:pt x="614193" y="1128732"/>
                    </a:lnTo>
                    <a:lnTo>
                      <a:pt x="565403" y="1130808"/>
                    </a:lnTo>
                    <a:lnTo>
                      <a:pt x="516614" y="1128732"/>
                    </a:lnTo>
                    <a:lnTo>
                      <a:pt x="468978" y="1122620"/>
                    </a:lnTo>
                    <a:lnTo>
                      <a:pt x="422665" y="1112640"/>
                    </a:lnTo>
                    <a:lnTo>
                      <a:pt x="377844" y="1098962"/>
                    </a:lnTo>
                    <a:lnTo>
                      <a:pt x="334686" y="1081756"/>
                    </a:lnTo>
                    <a:lnTo>
                      <a:pt x="293360" y="1061192"/>
                    </a:lnTo>
                    <a:lnTo>
                      <a:pt x="254034" y="1037438"/>
                    </a:lnTo>
                    <a:lnTo>
                      <a:pt x="216881" y="1010665"/>
                    </a:lnTo>
                    <a:lnTo>
                      <a:pt x="182067" y="981042"/>
                    </a:lnTo>
                    <a:lnTo>
                      <a:pt x="149765" y="948740"/>
                    </a:lnTo>
                    <a:lnTo>
                      <a:pt x="120142" y="913926"/>
                    </a:lnTo>
                    <a:lnTo>
                      <a:pt x="93369" y="876773"/>
                    </a:lnTo>
                    <a:lnTo>
                      <a:pt x="69615" y="837447"/>
                    </a:lnTo>
                    <a:lnTo>
                      <a:pt x="49051" y="796121"/>
                    </a:lnTo>
                    <a:lnTo>
                      <a:pt x="31845" y="752963"/>
                    </a:lnTo>
                    <a:lnTo>
                      <a:pt x="18167" y="708142"/>
                    </a:lnTo>
                    <a:lnTo>
                      <a:pt x="8187" y="661829"/>
                    </a:lnTo>
                    <a:lnTo>
                      <a:pt x="2075" y="614193"/>
                    </a:lnTo>
                    <a:lnTo>
                      <a:pt x="0" y="565404"/>
                    </a:lnTo>
                    <a:close/>
                  </a:path>
                </a:pathLst>
              </a:custGeom>
              <a:ln w="19812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</p:grpSp>
        <p:sp>
          <p:nvSpPr>
            <p:cNvPr id="71" name="object 65">
              <a:extLst>
                <a:ext uri="{FF2B5EF4-FFF2-40B4-BE49-F238E27FC236}">
                  <a16:creationId xmlns:a16="http://schemas.microsoft.com/office/drawing/2014/main" id="{1890CDFA-DCAC-4E42-97D3-C9C4A7D8F57C}"/>
                </a:ext>
              </a:extLst>
            </p:cNvPr>
            <p:cNvSpPr/>
            <p:nvPr/>
          </p:nvSpPr>
          <p:spPr>
            <a:xfrm>
              <a:off x="4681800" y="2944546"/>
              <a:ext cx="471053" cy="390446"/>
            </a:xfrm>
            <a:prstGeom prst="rect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685800">
                <a:defRPr/>
              </a:pPr>
              <a:endParaRPr sz="675" kern="0">
                <a:solidFill>
                  <a:srgbClr val="5C5C5C"/>
                </a:solidFill>
                <a:latin typeface="Open Sans"/>
              </a:endParaRPr>
            </a:p>
          </p:txBody>
        </p:sp>
      </p:grpSp>
      <p:sp>
        <p:nvSpPr>
          <p:cNvPr id="91" name="object 56">
            <a:extLst>
              <a:ext uri="{FF2B5EF4-FFF2-40B4-BE49-F238E27FC236}">
                <a16:creationId xmlns:a16="http://schemas.microsoft.com/office/drawing/2014/main" id="{75FBBD97-5F91-4B28-887C-1564686BD647}"/>
              </a:ext>
            </a:extLst>
          </p:cNvPr>
          <p:cNvSpPr txBox="1"/>
          <p:nvPr/>
        </p:nvSpPr>
        <p:spPr>
          <a:xfrm>
            <a:off x="7714453" y="3110759"/>
            <a:ext cx="833724" cy="193803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algn="ctr" defTabSz="685800">
              <a:spcBef>
                <a:spcPts val="71"/>
              </a:spcBef>
              <a:defRPr/>
            </a:pPr>
            <a:r>
              <a:rPr lang="nb-NO" sz="600" spc="-8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rPr>
              <a:t>Faktura kontrolleres og godkjennes</a:t>
            </a:r>
            <a:endParaRPr lang="nb-NO" sz="600">
              <a:solidFill>
                <a:srgbClr val="000000"/>
              </a:solidFill>
              <a:latin typeface="Poppins" panose="00000800000000000000" charset="0"/>
              <a:cs typeface="Poppins" panose="00000800000000000000" charset="0"/>
            </a:endParaRPr>
          </a:p>
        </p:txBody>
      </p:sp>
      <p:grpSp>
        <p:nvGrpSpPr>
          <p:cNvPr id="92" name="Group 169">
            <a:extLst>
              <a:ext uri="{FF2B5EF4-FFF2-40B4-BE49-F238E27FC236}">
                <a16:creationId xmlns:a16="http://schemas.microsoft.com/office/drawing/2014/main" id="{7E37A750-4642-430A-8086-870E469BFFE3}"/>
              </a:ext>
            </a:extLst>
          </p:cNvPr>
          <p:cNvGrpSpPr/>
          <p:nvPr/>
        </p:nvGrpSpPr>
        <p:grpSpPr>
          <a:xfrm>
            <a:off x="7804655" y="3357011"/>
            <a:ext cx="730227" cy="763200"/>
            <a:chOff x="8356523" y="2697504"/>
            <a:chExt cx="973634" cy="1017600"/>
          </a:xfrm>
        </p:grpSpPr>
        <p:grpSp>
          <p:nvGrpSpPr>
            <p:cNvPr id="93" name="Group 170">
              <a:extLst>
                <a:ext uri="{FF2B5EF4-FFF2-40B4-BE49-F238E27FC236}">
                  <a16:creationId xmlns:a16="http://schemas.microsoft.com/office/drawing/2014/main" id="{42BC7AF0-FF74-4FC6-B0AF-2DE91CA182F3}"/>
                </a:ext>
              </a:extLst>
            </p:cNvPr>
            <p:cNvGrpSpPr/>
            <p:nvPr/>
          </p:nvGrpSpPr>
          <p:grpSpPr>
            <a:xfrm>
              <a:off x="8356523" y="2697504"/>
              <a:ext cx="973634" cy="1017600"/>
              <a:chOff x="3467100" y="1822704"/>
              <a:chExt cx="1417447" cy="1481455"/>
            </a:xfrm>
          </p:grpSpPr>
          <p:sp>
            <p:nvSpPr>
              <p:cNvPr id="110" name="object 17">
                <a:extLst>
                  <a:ext uri="{FF2B5EF4-FFF2-40B4-BE49-F238E27FC236}">
                    <a16:creationId xmlns:a16="http://schemas.microsoft.com/office/drawing/2014/main" id="{C5BC4C4F-577E-4462-B17F-E2E966DC8256}"/>
                  </a:ext>
                </a:extLst>
              </p:cNvPr>
              <p:cNvSpPr/>
              <p:nvPr/>
            </p:nvSpPr>
            <p:spPr>
              <a:xfrm>
                <a:off x="3550284" y="1898904"/>
                <a:ext cx="1259840" cy="1405255"/>
              </a:xfrm>
              <a:custGeom>
                <a:avLst/>
                <a:gdLst/>
                <a:ahLst/>
                <a:cxnLst/>
                <a:rect l="l" t="t" r="r" b="b"/>
                <a:pathLst>
                  <a:path w="1259839" h="1405254">
                    <a:moveTo>
                      <a:pt x="556132" y="0"/>
                    </a:moveTo>
                    <a:lnTo>
                      <a:pt x="604293" y="1620"/>
                    </a:lnTo>
                    <a:lnTo>
                      <a:pt x="651582" y="6414"/>
                    </a:lnTo>
                    <a:lnTo>
                      <a:pt x="697894" y="14274"/>
                    </a:lnTo>
                    <a:lnTo>
                      <a:pt x="743124" y="25098"/>
                    </a:lnTo>
                    <a:lnTo>
                      <a:pt x="787169" y="38780"/>
                    </a:lnTo>
                    <a:lnTo>
                      <a:pt x="829923" y="55215"/>
                    </a:lnTo>
                    <a:lnTo>
                      <a:pt x="871281" y="74299"/>
                    </a:lnTo>
                    <a:lnTo>
                      <a:pt x="911140" y="95927"/>
                    </a:lnTo>
                    <a:lnTo>
                      <a:pt x="949394" y="119994"/>
                    </a:lnTo>
                    <a:lnTo>
                      <a:pt x="985938" y="146397"/>
                    </a:lnTo>
                    <a:lnTo>
                      <a:pt x="1020669" y="175029"/>
                    </a:lnTo>
                    <a:lnTo>
                      <a:pt x="1053480" y="205787"/>
                    </a:lnTo>
                    <a:lnTo>
                      <a:pt x="1084269" y="238566"/>
                    </a:lnTo>
                    <a:lnTo>
                      <a:pt x="1112929" y="273261"/>
                    </a:lnTo>
                    <a:lnTo>
                      <a:pt x="1139356" y="309767"/>
                    </a:lnTo>
                    <a:lnTo>
                      <a:pt x="1163447" y="347980"/>
                    </a:lnTo>
                    <a:lnTo>
                      <a:pt x="1185094" y="387794"/>
                    </a:lnTo>
                    <a:lnTo>
                      <a:pt x="1204196" y="429107"/>
                    </a:lnTo>
                    <a:lnTo>
                      <a:pt x="1220645" y="471812"/>
                    </a:lnTo>
                    <a:lnTo>
                      <a:pt x="1234339" y="515805"/>
                    </a:lnTo>
                    <a:lnTo>
                      <a:pt x="1245172" y="560981"/>
                    </a:lnTo>
                    <a:lnTo>
                      <a:pt x="1253039" y="607236"/>
                    </a:lnTo>
                    <a:lnTo>
                      <a:pt x="1257836" y="654465"/>
                    </a:lnTo>
                    <a:lnTo>
                      <a:pt x="1259459" y="702563"/>
                    </a:lnTo>
                    <a:lnTo>
                      <a:pt x="1257836" y="750662"/>
                    </a:lnTo>
                    <a:lnTo>
                      <a:pt x="1253039" y="797891"/>
                    </a:lnTo>
                    <a:lnTo>
                      <a:pt x="1245172" y="844146"/>
                    </a:lnTo>
                    <a:lnTo>
                      <a:pt x="1234339" y="889322"/>
                    </a:lnTo>
                    <a:lnTo>
                      <a:pt x="1220645" y="933315"/>
                    </a:lnTo>
                    <a:lnTo>
                      <a:pt x="1204196" y="976020"/>
                    </a:lnTo>
                    <a:lnTo>
                      <a:pt x="1185094" y="1017333"/>
                    </a:lnTo>
                    <a:lnTo>
                      <a:pt x="1163447" y="1057147"/>
                    </a:lnTo>
                    <a:lnTo>
                      <a:pt x="1139356" y="1095360"/>
                    </a:lnTo>
                    <a:lnTo>
                      <a:pt x="1112929" y="1131866"/>
                    </a:lnTo>
                    <a:lnTo>
                      <a:pt x="1084269" y="1166561"/>
                    </a:lnTo>
                    <a:lnTo>
                      <a:pt x="1053480" y="1199340"/>
                    </a:lnTo>
                    <a:lnTo>
                      <a:pt x="1020669" y="1230098"/>
                    </a:lnTo>
                    <a:lnTo>
                      <a:pt x="985938" y="1258730"/>
                    </a:lnTo>
                    <a:lnTo>
                      <a:pt x="949394" y="1285133"/>
                    </a:lnTo>
                    <a:lnTo>
                      <a:pt x="911140" y="1309200"/>
                    </a:lnTo>
                    <a:lnTo>
                      <a:pt x="871281" y="1330828"/>
                    </a:lnTo>
                    <a:lnTo>
                      <a:pt x="829923" y="1349912"/>
                    </a:lnTo>
                    <a:lnTo>
                      <a:pt x="787169" y="1366347"/>
                    </a:lnTo>
                    <a:lnTo>
                      <a:pt x="743124" y="1380029"/>
                    </a:lnTo>
                    <a:lnTo>
                      <a:pt x="697894" y="1390853"/>
                    </a:lnTo>
                    <a:lnTo>
                      <a:pt x="651582" y="1398713"/>
                    </a:lnTo>
                    <a:lnTo>
                      <a:pt x="604293" y="1403507"/>
                    </a:lnTo>
                    <a:lnTo>
                      <a:pt x="556132" y="1405128"/>
                    </a:lnTo>
                    <a:lnTo>
                      <a:pt x="506172" y="1403355"/>
                    </a:lnTo>
                    <a:lnTo>
                      <a:pt x="456808" y="1398092"/>
                    </a:lnTo>
                    <a:lnTo>
                      <a:pt x="408205" y="1389418"/>
                    </a:lnTo>
                    <a:lnTo>
                      <a:pt x="360525" y="1377414"/>
                    </a:lnTo>
                    <a:lnTo>
                      <a:pt x="313933" y="1362159"/>
                    </a:lnTo>
                    <a:lnTo>
                      <a:pt x="268593" y="1343733"/>
                    </a:lnTo>
                    <a:lnTo>
                      <a:pt x="224667" y="1322217"/>
                    </a:lnTo>
                    <a:lnTo>
                      <a:pt x="182321" y="1297691"/>
                    </a:lnTo>
                    <a:lnTo>
                      <a:pt x="141717" y="1270235"/>
                    </a:lnTo>
                    <a:lnTo>
                      <a:pt x="103019" y="1239929"/>
                    </a:lnTo>
                    <a:lnTo>
                      <a:pt x="66391" y="1206853"/>
                    </a:lnTo>
                    <a:lnTo>
                      <a:pt x="31997" y="1171088"/>
                    </a:lnTo>
                    <a:lnTo>
                      <a:pt x="0" y="1132713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lang="nb-NO"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12" name="object 18">
                <a:extLst>
                  <a:ext uri="{FF2B5EF4-FFF2-40B4-BE49-F238E27FC236}">
                    <a16:creationId xmlns:a16="http://schemas.microsoft.com/office/drawing/2014/main" id="{542216FF-B811-426B-89B1-B2635D6687C2}"/>
                  </a:ext>
                </a:extLst>
              </p:cNvPr>
              <p:cNvSpPr/>
              <p:nvPr/>
            </p:nvSpPr>
            <p:spPr>
              <a:xfrm>
                <a:off x="3467100" y="1962911"/>
                <a:ext cx="1278890" cy="1277620"/>
              </a:xfrm>
              <a:custGeom>
                <a:avLst/>
                <a:gdLst/>
                <a:ahLst/>
                <a:cxnLst/>
                <a:rect l="l" t="t" r="r" b="b"/>
                <a:pathLst>
                  <a:path w="1278889" h="1277620">
                    <a:moveTo>
                      <a:pt x="639317" y="0"/>
                    </a:moveTo>
                    <a:lnTo>
                      <a:pt x="687027" y="1751"/>
                    </a:lnTo>
                    <a:lnTo>
                      <a:pt x="733785" y="6923"/>
                    </a:lnTo>
                    <a:lnTo>
                      <a:pt x="779468" y="15392"/>
                    </a:lnTo>
                    <a:lnTo>
                      <a:pt x="823952" y="27034"/>
                    </a:lnTo>
                    <a:lnTo>
                      <a:pt x="867112" y="41727"/>
                    </a:lnTo>
                    <a:lnTo>
                      <a:pt x="908827" y="59346"/>
                    </a:lnTo>
                    <a:lnTo>
                      <a:pt x="948971" y="79769"/>
                    </a:lnTo>
                    <a:lnTo>
                      <a:pt x="987422" y="102871"/>
                    </a:lnTo>
                    <a:lnTo>
                      <a:pt x="1024055" y="128530"/>
                    </a:lnTo>
                    <a:lnTo>
                      <a:pt x="1058747" y="156622"/>
                    </a:lnTo>
                    <a:lnTo>
                      <a:pt x="1091374" y="187023"/>
                    </a:lnTo>
                    <a:lnTo>
                      <a:pt x="1121813" y="219610"/>
                    </a:lnTo>
                    <a:lnTo>
                      <a:pt x="1149940" y="254260"/>
                    </a:lnTo>
                    <a:lnTo>
                      <a:pt x="1175631" y="290849"/>
                    </a:lnTo>
                    <a:lnTo>
                      <a:pt x="1198763" y="329253"/>
                    </a:lnTo>
                    <a:lnTo>
                      <a:pt x="1219212" y="369350"/>
                    </a:lnTo>
                    <a:lnTo>
                      <a:pt x="1236854" y="411016"/>
                    </a:lnTo>
                    <a:lnTo>
                      <a:pt x="1251565" y="454127"/>
                    </a:lnTo>
                    <a:lnTo>
                      <a:pt x="1263223" y="498560"/>
                    </a:lnTo>
                    <a:lnTo>
                      <a:pt x="1271703" y="544191"/>
                    </a:lnTo>
                    <a:lnTo>
                      <a:pt x="1276882" y="590898"/>
                    </a:lnTo>
                    <a:lnTo>
                      <a:pt x="1278636" y="638555"/>
                    </a:lnTo>
                    <a:lnTo>
                      <a:pt x="1276882" y="686213"/>
                    </a:lnTo>
                    <a:lnTo>
                      <a:pt x="1271703" y="732920"/>
                    </a:lnTo>
                    <a:lnTo>
                      <a:pt x="1263223" y="778551"/>
                    </a:lnTo>
                    <a:lnTo>
                      <a:pt x="1251565" y="822984"/>
                    </a:lnTo>
                    <a:lnTo>
                      <a:pt x="1236854" y="866095"/>
                    </a:lnTo>
                    <a:lnTo>
                      <a:pt x="1219212" y="907761"/>
                    </a:lnTo>
                    <a:lnTo>
                      <a:pt x="1198763" y="947858"/>
                    </a:lnTo>
                    <a:lnTo>
                      <a:pt x="1175631" y="986262"/>
                    </a:lnTo>
                    <a:lnTo>
                      <a:pt x="1149940" y="1022851"/>
                    </a:lnTo>
                    <a:lnTo>
                      <a:pt x="1121813" y="1057501"/>
                    </a:lnTo>
                    <a:lnTo>
                      <a:pt x="1091374" y="1090088"/>
                    </a:lnTo>
                    <a:lnTo>
                      <a:pt x="1058747" y="1120489"/>
                    </a:lnTo>
                    <a:lnTo>
                      <a:pt x="1024055" y="1148581"/>
                    </a:lnTo>
                    <a:lnTo>
                      <a:pt x="987422" y="1174240"/>
                    </a:lnTo>
                    <a:lnTo>
                      <a:pt x="948971" y="1197342"/>
                    </a:lnTo>
                    <a:lnTo>
                      <a:pt x="908827" y="1217765"/>
                    </a:lnTo>
                    <a:lnTo>
                      <a:pt x="867112" y="1235384"/>
                    </a:lnTo>
                    <a:lnTo>
                      <a:pt x="823952" y="1250077"/>
                    </a:lnTo>
                    <a:lnTo>
                      <a:pt x="779468" y="1261719"/>
                    </a:lnTo>
                    <a:lnTo>
                      <a:pt x="733785" y="1270188"/>
                    </a:lnTo>
                    <a:lnTo>
                      <a:pt x="687027" y="1275360"/>
                    </a:lnTo>
                    <a:lnTo>
                      <a:pt x="639317" y="1277112"/>
                    </a:lnTo>
                    <a:lnTo>
                      <a:pt x="591608" y="1275360"/>
                    </a:lnTo>
                    <a:lnTo>
                      <a:pt x="544850" y="1270188"/>
                    </a:lnTo>
                    <a:lnTo>
                      <a:pt x="499167" y="1261719"/>
                    </a:lnTo>
                    <a:lnTo>
                      <a:pt x="454683" y="1250077"/>
                    </a:lnTo>
                    <a:lnTo>
                      <a:pt x="411523" y="1235384"/>
                    </a:lnTo>
                    <a:lnTo>
                      <a:pt x="369808" y="1217765"/>
                    </a:lnTo>
                    <a:lnTo>
                      <a:pt x="329664" y="1197342"/>
                    </a:lnTo>
                    <a:lnTo>
                      <a:pt x="291213" y="1174240"/>
                    </a:lnTo>
                    <a:lnTo>
                      <a:pt x="254580" y="1148581"/>
                    </a:lnTo>
                    <a:lnTo>
                      <a:pt x="219888" y="1120489"/>
                    </a:lnTo>
                    <a:lnTo>
                      <a:pt x="187261" y="1090088"/>
                    </a:lnTo>
                    <a:lnTo>
                      <a:pt x="156822" y="1057501"/>
                    </a:lnTo>
                    <a:lnTo>
                      <a:pt x="128695" y="1022851"/>
                    </a:lnTo>
                    <a:lnTo>
                      <a:pt x="103004" y="986262"/>
                    </a:lnTo>
                    <a:lnTo>
                      <a:pt x="79872" y="947858"/>
                    </a:lnTo>
                    <a:lnTo>
                      <a:pt x="59423" y="907761"/>
                    </a:lnTo>
                    <a:lnTo>
                      <a:pt x="41781" y="866095"/>
                    </a:lnTo>
                    <a:lnTo>
                      <a:pt x="27070" y="822984"/>
                    </a:lnTo>
                    <a:lnTo>
                      <a:pt x="15412" y="778551"/>
                    </a:lnTo>
                    <a:lnTo>
                      <a:pt x="6932" y="732920"/>
                    </a:lnTo>
                    <a:lnTo>
                      <a:pt x="1753" y="686213"/>
                    </a:lnTo>
                    <a:lnTo>
                      <a:pt x="0" y="638555"/>
                    </a:lnTo>
                    <a:lnTo>
                      <a:pt x="2217" y="585401"/>
                    </a:lnTo>
                    <a:lnTo>
                      <a:pt x="8812" y="532886"/>
                    </a:lnTo>
                    <a:lnTo>
                      <a:pt x="19696" y="481266"/>
                    </a:lnTo>
                    <a:lnTo>
                      <a:pt x="34782" y="430799"/>
                    </a:lnTo>
                    <a:lnTo>
                      <a:pt x="53981" y="381744"/>
                    </a:lnTo>
                    <a:lnTo>
                      <a:pt x="77206" y="334357"/>
                    </a:lnTo>
                    <a:lnTo>
                      <a:pt x="104368" y="288895"/>
                    </a:lnTo>
                    <a:lnTo>
                      <a:pt x="135382" y="245617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lang="nb-NO"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13" name="object 19">
                <a:extLst>
                  <a:ext uri="{FF2B5EF4-FFF2-40B4-BE49-F238E27FC236}">
                    <a16:creationId xmlns:a16="http://schemas.microsoft.com/office/drawing/2014/main" id="{B4A224A3-B5D4-4FDD-9C16-B068A2BC0232}"/>
                  </a:ext>
                </a:extLst>
              </p:cNvPr>
              <p:cNvSpPr/>
              <p:nvPr/>
            </p:nvSpPr>
            <p:spPr>
              <a:xfrm>
                <a:off x="4111752" y="1822704"/>
                <a:ext cx="772795" cy="1082675"/>
              </a:xfrm>
              <a:custGeom>
                <a:avLst/>
                <a:gdLst/>
                <a:ahLst/>
                <a:cxnLst/>
                <a:rect l="l" t="t" r="r" b="b"/>
                <a:pathLst>
                  <a:path w="772795" h="1082675">
                    <a:moveTo>
                      <a:pt x="0" y="0"/>
                    </a:moveTo>
                    <a:lnTo>
                      <a:pt x="48863" y="1521"/>
                    </a:lnTo>
                    <a:lnTo>
                      <a:pt x="96919" y="6026"/>
                    </a:lnTo>
                    <a:lnTo>
                      <a:pt x="144077" y="13424"/>
                    </a:lnTo>
                    <a:lnTo>
                      <a:pt x="190246" y="23624"/>
                    </a:lnTo>
                    <a:lnTo>
                      <a:pt x="235337" y="36535"/>
                    </a:lnTo>
                    <a:lnTo>
                      <a:pt x="279258" y="52067"/>
                    </a:lnTo>
                    <a:lnTo>
                      <a:pt x="321919" y="70128"/>
                    </a:lnTo>
                    <a:lnTo>
                      <a:pt x="363229" y="90629"/>
                    </a:lnTo>
                    <a:lnTo>
                      <a:pt x="403098" y="113479"/>
                    </a:lnTo>
                    <a:lnTo>
                      <a:pt x="441436" y="138587"/>
                    </a:lnTo>
                    <a:lnTo>
                      <a:pt x="478151" y="165862"/>
                    </a:lnTo>
                    <a:lnTo>
                      <a:pt x="513154" y="195214"/>
                    </a:lnTo>
                    <a:lnTo>
                      <a:pt x="546354" y="226552"/>
                    </a:lnTo>
                    <a:lnTo>
                      <a:pt x="577659" y="259785"/>
                    </a:lnTo>
                    <a:lnTo>
                      <a:pt x="606981" y="294823"/>
                    </a:lnTo>
                    <a:lnTo>
                      <a:pt x="634228" y="331575"/>
                    </a:lnTo>
                    <a:lnTo>
                      <a:pt x="659309" y="369951"/>
                    </a:lnTo>
                    <a:lnTo>
                      <a:pt x="682135" y="409859"/>
                    </a:lnTo>
                    <a:lnTo>
                      <a:pt x="702614" y="451210"/>
                    </a:lnTo>
                    <a:lnTo>
                      <a:pt x="720657" y="493912"/>
                    </a:lnTo>
                    <a:lnTo>
                      <a:pt x="736172" y="537875"/>
                    </a:lnTo>
                    <a:lnTo>
                      <a:pt x="749069" y="583008"/>
                    </a:lnTo>
                    <a:lnTo>
                      <a:pt x="759257" y="629221"/>
                    </a:lnTo>
                    <a:lnTo>
                      <a:pt x="766647" y="676422"/>
                    </a:lnTo>
                    <a:lnTo>
                      <a:pt x="771147" y="724522"/>
                    </a:lnTo>
                    <a:lnTo>
                      <a:pt x="772668" y="773430"/>
                    </a:lnTo>
                    <a:lnTo>
                      <a:pt x="770853" y="826453"/>
                    </a:lnTo>
                    <a:lnTo>
                      <a:pt x="765433" y="879103"/>
                    </a:lnTo>
                    <a:lnTo>
                      <a:pt x="756443" y="931195"/>
                    </a:lnTo>
                    <a:lnTo>
                      <a:pt x="743918" y="982547"/>
                    </a:lnTo>
                    <a:lnTo>
                      <a:pt x="727894" y="1032974"/>
                    </a:lnTo>
                    <a:lnTo>
                      <a:pt x="708406" y="1082294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lang="nb-NO"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14" name="object 40">
                <a:extLst>
                  <a:ext uri="{FF2B5EF4-FFF2-40B4-BE49-F238E27FC236}">
                    <a16:creationId xmlns:a16="http://schemas.microsoft.com/office/drawing/2014/main" id="{6D2B6DC8-FE38-4F2B-82CF-BA0F5AA702C7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565403" y="0"/>
                    </a:moveTo>
                    <a:lnTo>
                      <a:pt x="516614" y="2075"/>
                    </a:lnTo>
                    <a:lnTo>
                      <a:pt x="468978" y="8187"/>
                    </a:lnTo>
                    <a:lnTo>
                      <a:pt x="422665" y="18167"/>
                    </a:lnTo>
                    <a:lnTo>
                      <a:pt x="377844" y="31845"/>
                    </a:lnTo>
                    <a:lnTo>
                      <a:pt x="334686" y="49051"/>
                    </a:lnTo>
                    <a:lnTo>
                      <a:pt x="293360" y="69615"/>
                    </a:lnTo>
                    <a:lnTo>
                      <a:pt x="254034" y="93369"/>
                    </a:lnTo>
                    <a:lnTo>
                      <a:pt x="216881" y="120142"/>
                    </a:lnTo>
                    <a:lnTo>
                      <a:pt x="182067" y="149765"/>
                    </a:lnTo>
                    <a:lnTo>
                      <a:pt x="149765" y="182067"/>
                    </a:lnTo>
                    <a:lnTo>
                      <a:pt x="120142" y="216881"/>
                    </a:lnTo>
                    <a:lnTo>
                      <a:pt x="93369" y="254034"/>
                    </a:lnTo>
                    <a:lnTo>
                      <a:pt x="69615" y="293360"/>
                    </a:lnTo>
                    <a:lnTo>
                      <a:pt x="49051" y="334686"/>
                    </a:lnTo>
                    <a:lnTo>
                      <a:pt x="31845" y="377844"/>
                    </a:lnTo>
                    <a:lnTo>
                      <a:pt x="18167" y="422665"/>
                    </a:lnTo>
                    <a:lnTo>
                      <a:pt x="8187" y="468978"/>
                    </a:lnTo>
                    <a:lnTo>
                      <a:pt x="2075" y="516614"/>
                    </a:lnTo>
                    <a:lnTo>
                      <a:pt x="0" y="565404"/>
                    </a:lnTo>
                    <a:lnTo>
                      <a:pt x="2075" y="614193"/>
                    </a:lnTo>
                    <a:lnTo>
                      <a:pt x="8187" y="661829"/>
                    </a:lnTo>
                    <a:lnTo>
                      <a:pt x="18167" y="708142"/>
                    </a:lnTo>
                    <a:lnTo>
                      <a:pt x="31845" y="752963"/>
                    </a:lnTo>
                    <a:lnTo>
                      <a:pt x="49051" y="796121"/>
                    </a:lnTo>
                    <a:lnTo>
                      <a:pt x="69615" y="837447"/>
                    </a:lnTo>
                    <a:lnTo>
                      <a:pt x="93369" y="876773"/>
                    </a:lnTo>
                    <a:lnTo>
                      <a:pt x="120142" y="913926"/>
                    </a:lnTo>
                    <a:lnTo>
                      <a:pt x="149765" y="948740"/>
                    </a:lnTo>
                    <a:lnTo>
                      <a:pt x="182067" y="981042"/>
                    </a:lnTo>
                    <a:lnTo>
                      <a:pt x="216881" y="1010665"/>
                    </a:lnTo>
                    <a:lnTo>
                      <a:pt x="254034" y="1037438"/>
                    </a:lnTo>
                    <a:lnTo>
                      <a:pt x="293360" y="1061192"/>
                    </a:lnTo>
                    <a:lnTo>
                      <a:pt x="334686" y="1081756"/>
                    </a:lnTo>
                    <a:lnTo>
                      <a:pt x="377844" y="1098962"/>
                    </a:lnTo>
                    <a:lnTo>
                      <a:pt x="422665" y="1112640"/>
                    </a:lnTo>
                    <a:lnTo>
                      <a:pt x="468978" y="1122620"/>
                    </a:lnTo>
                    <a:lnTo>
                      <a:pt x="516614" y="1128732"/>
                    </a:lnTo>
                    <a:lnTo>
                      <a:pt x="565403" y="1130808"/>
                    </a:lnTo>
                    <a:lnTo>
                      <a:pt x="614193" y="1128732"/>
                    </a:lnTo>
                    <a:lnTo>
                      <a:pt x="661829" y="1122620"/>
                    </a:lnTo>
                    <a:lnTo>
                      <a:pt x="708142" y="1112640"/>
                    </a:lnTo>
                    <a:lnTo>
                      <a:pt x="752963" y="1098962"/>
                    </a:lnTo>
                    <a:lnTo>
                      <a:pt x="796121" y="1081756"/>
                    </a:lnTo>
                    <a:lnTo>
                      <a:pt x="837447" y="1061192"/>
                    </a:lnTo>
                    <a:lnTo>
                      <a:pt x="876773" y="1037438"/>
                    </a:lnTo>
                    <a:lnTo>
                      <a:pt x="913926" y="1010665"/>
                    </a:lnTo>
                    <a:lnTo>
                      <a:pt x="948740" y="981042"/>
                    </a:lnTo>
                    <a:lnTo>
                      <a:pt x="981042" y="948740"/>
                    </a:lnTo>
                    <a:lnTo>
                      <a:pt x="1010665" y="913926"/>
                    </a:lnTo>
                    <a:lnTo>
                      <a:pt x="1037438" y="876773"/>
                    </a:lnTo>
                    <a:lnTo>
                      <a:pt x="1061192" y="837447"/>
                    </a:lnTo>
                    <a:lnTo>
                      <a:pt x="1081756" y="796121"/>
                    </a:lnTo>
                    <a:lnTo>
                      <a:pt x="1098962" y="752963"/>
                    </a:lnTo>
                    <a:lnTo>
                      <a:pt x="1112640" y="708142"/>
                    </a:lnTo>
                    <a:lnTo>
                      <a:pt x="1122620" y="661829"/>
                    </a:lnTo>
                    <a:lnTo>
                      <a:pt x="1128732" y="614193"/>
                    </a:lnTo>
                    <a:lnTo>
                      <a:pt x="1130807" y="565404"/>
                    </a:lnTo>
                    <a:lnTo>
                      <a:pt x="1128732" y="516614"/>
                    </a:lnTo>
                    <a:lnTo>
                      <a:pt x="1122620" y="468978"/>
                    </a:lnTo>
                    <a:lnTo>
                      <a:pt x="1112640" y="422665"/>
                    </a:lnTo>
                    <a:lnTo>
                      <a:pt x="1098962" y="377844"/>
                    </a:lnTo>
                    <a:lnTo>
                      <a:pt x="1081756" y="334686"/>
                    </a:lnTo>
                    <a:lnTo>
                      <a:pt x="1061192" y="293360"/>
                    </a:lnTo>
                    <a:lnTo>
                      <a:pt x="1037438" y="254034"/>
                    </a:lnTo>
                    <a:lnTo>
                      <a:pt x="1010665" y="216881"/>
                    </a:lnTo>
                    <a:lnTo>
                      <a:pt x="981042" y="182067"/>
                    </a:lnTo>
                    <a:lnTo>
                      <a:pt x="948740" y="149765"/>
                    </a:lnTo>
                    <a:lnTo>
                      <a:pt x="913926" y="120142"/>
                    </a:lnTo>
                    <a:lnTo>
                      <a:pt x="876773" y="93369"/>
                    </a:lnTo>
                    <a:lnTo>
                      <a:pt x="837447" y="69615"/>
                    </a:lnTo>
                    <a:lnTo>
                      <a:pt x="796121" y="49051"/>
                    </a:lnTo>
                    <a:lnTo>
                      <a:pt x="752963" y="31845"/>
                    </a:lnTo>
                    <a:lnTo>
                      <a:pt x="708142" y="18167"/>
                    </a:lnTo>
                    <a:lnTo>
                      <a:pt x="661829" y="8187"/>
                    </a:lnTo>
                    <a:lnTo>
                      <a:pt x="614193" y="2075"/>
                    </a:lnTo>
                    <a:lnTo>
                      <a:pt x="56540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lang="nb-NO"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15" name="object 41">
                <a:extLst>
                  <a:ext uri="{FF2B5EF4-FFF2-40B4-BE49-F238E27FC236}">
                    <a16:creationId xmlns:a16="http://schemas.microsoft.com/office/drawing/2014/main" id="{A2E04A45-052A-445C-8376-F4E4EE35764B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0" y="565404"/>
                    </a:moveTo>
                    <a:lnTo>
                      <a:pt x="2075" y="516614"/>
                    </a:lnTo>
                    <a:lnTo>
                      <a:pt x="8187" y="468978"/>
                    </a:lnTo>
                    <a:lnTo>
                      <a:pt x="18167" y="422665"/>
                    </a:lnTo>
                    <a:lnTo>
                      <a:pt x="31845" y="377844"/>
                    </a:lnTo>
                    <a:lnTo>
                      <a:pt x="49051" y="334686"/>
                    </a:lnTo>
                    <a:lnTo>
                      <a:pt x="69615" y="293360"/>
                    </a:lnTo>
                    <a:lnTo>
                      <a:pt x="93369" y="254034"/>
                    </a:lnTo>
                    <a:lnTo>
                      <a:pt x="120142" y="216881"/>
                    </a:lnTo>
                    <a:lnTo>
                      <a:pt x="149765" y="182067"/>
                    </a:lnTo>
                    <a:lnTo>
                      <a:pt x="182067" y="149765"/>
                    </a:lnTo>
                    <a:lnTo>
                      <a:pt x="216881" y="120142"/>
                    </a:lnTo>
                    <a:lnTo>
                      <a:pt x="254034" y="93369"/>
                    </a:lnTo>
                    <a:lnTo>
                      <a:pt x="293360" y="69615"/>
                    </a:lnTo>
                    <a:lnTo>
                      <a:pt x="334686" y="49051"/>
                    </a:lnTo>
                    <a:lnTo>
                      <a:pt x="377844" y="31845"/>
                    </a:lnTo>
                    <a:lnTo>
                      <a:pt x="422665" y="18167"/>
                    </a:lnTo>
                    <a:lnTo>
                      <a:pt x="468978" y="8187"/>
                    </a:lnTo>
                    <a:lnTo>
                      <a:pt x="516614" y="2075"/>
                    </a:lnTo>
                    <a:lnTo>
                      <a:pt x="565403" y="0"/>
                    </a:lnTo>
                    <a:lnTo>
                      <a:pt x="614193" y="2075"/>
                    </a:lnTo>
                    <a:lnTo>
                      <a:pt x="661829" y="8187"/>
                    </a:lnTo>
                    <a:lnTo>
                      <a:pt x="708142" y="18167"/>
                    </a:lnTo>
                    <a:lnTo>
                      <a:pt x="752963" y="31845"/>
                    </a:lnTo>
                    <a:lnTo>
                      <a:pt x="796121" y="49051"/>
                    </a:lnTo>
                    <a:lnTo>
                      <a:pt x="837447" y="69615"/>
                    </a:lnTo>
                    <a:lnTo>
                      <a:pt x="876773" y="93369"/>
                    </a:lnTo>
                    <a:lnTo>
                      <a:pt x="913926" y="120142"/>
                    </a:lnTo>
                    <a:lnTo>
                      <a:pt x="948740" y="149765"/>
                    </a:lnTo>
                    <a:lnTo>
                      <a:pt x="981042" y="182067"/>
                    </a:lnTo>
                    <a:lnTo>
                      <a:pt x="1010665" y="216881"/>
                    </a:lnTo>
                    <a:lnTo>
                      <a:pt x="1037438" y="254034"/>
                    </a:lnTo>
                    <a:lnTo>
                      <a:pt x="1061192" y="293360"/>
                    </a:lnTo>
                    <a:lnTo>
                      <a:pt x="1081756" y="334686"/>
                    </a:lnTo>
                    <a:lnTo>
                      <a:pt x="1098962" y="377844"/>
                    </a:lnTo>
                    <a:lnTo>
                      <a:pt x="1112640" y="422665"/>
                    </a:lnTo>
                    <a:lnTo>
                      <a:pt x="1122620" y="468978"/>
                    </a:lnTo>
                    <a:lnTo>
                      <a:pt x="1128732" y="516614"/>
                    </a:lnTo>
                    <a:lnTo>
                      <a:pt x="1130807" y="565404"/>
                    </a:lnTo>
                    <a:lnTo>
                      <a:pt x="1128732" y="614193"/>
                    </a:lnTo>
                    <a:lnTo>
                      <a:pt x="1122620" y="661829"/>
                    </a:lnTo>
                    <a:lnTo>
                      <a:pt x="1112640" y="708142"/>
                    </a:lnTo>
                    <a:lnTo>
                      <a:pt x="1098962" y="752963"/>
                    </a:lnTo>
                    <a:lnTo>
                      <a:pt x="1081756" y="796121"/>
                    </a:lnTo>
                    <a:lnTo>
                      <a:pt x="1061192" y="837447"/>
                    </a:lnTo>
                    <a:lnTo>
                      <a:pt x="1037438" y="876773"/>
                    </a:lnTo>
                    <a:lnTo>
                      <a:pt x="1010665" y="913926"/>
                    </a:lnTo>
                    <a:lnTo>
                      <a:pt x="981042" y="948740"/>
                    </a:lnTo>
                    <a:lnTo>
                      <a:pt x="948740" y="981042"/>
                    </a:lnTo>
                    <a:lnTo>
                      <a:pt x="913926" y="1010665"/>
                    </a:lnTo>
                    <a:lnTo>
                      <a:pt x="876773" y="1037438"/>
                    </a:lnTo>
                    <a:lnTo>
                      <a:pt x="837447" y="1061192"/>
                    </a:lnTo>
                    <a:lnTo>
                      <a:pt x="796121" y="1081756"/>
                    </a:lnTo>
                    <a:lnTo>
                      <a:pt x="752963" y="1098962"/>
                    </a:lnTo>
                    <a:lnTo>
                      <a:pt x="708142" y="1112640"/>
                    </a:lnTo>
                    <a:lnTo>
                      <a:pt x="661829" y="1122620"/>
                    </a:lnTo>
                    <a:lnTo>
                      <a:pt x="614193" y="1128732"/>
                    </a:lnTo>
                    <a:lnTo>
                      <a:pt x="565403" y="1130808"/>
                    </a:lnTo>
                    <a:lnTo>
                      <a:pt x="516614" y="1128732"/>
                    </a:lnTo>
                    <a:lnTo>
                      <a:pt x="468978" y="1122620"/>
                    </a:lnTo>
                    <a:lnTo>
                      <a:pt x="422665" y="1112640"/>
                    </a:lnTo>
                    <a:lnTo>
                      <a:pt x="377844" y="1098962"/>
                    </a:lnTo>
                    <a:lnTo>
                      <a:pt x="334686" y="1081756"/>
                    </a:lnTo>
                    <a:lnTo>
                      <a:pt x="293360" y="1061192"/>
                    </a:lnTo>
                    <a:lnTo>
                      <a:pt x="254034" y="1037438"/>
                    </a:lnTo>
                    <a:lnTo>
                      <a:pt x="216881" y="1010665"/>
                    </a:lnTo>
                    <a:lnTo>
                      <a:pt x="182067" y="981042"/>
                    </a:lnTo>
                    <a:lnTo>
                      <a:pt x="149765" y="948740"/>
                    </a:lnTo>
                    <a:lnTo>
                      <a:pt x="120142" y="913926"/>
                    </a:lnTo>
                    <a:lnTo>
                      <a:pt x="93369" y="876773"/>
                    </a:lnTo>
                    <a:lnTo>
                      <a:pt x="69615" y="837447"/>
                    </a:lnTo>
                    <a:lnTo>
                      <a:pt x="49051" y="796121"/>
                    </a:lnTo>
                    <a:lnTo>
                      <a:pt x="31845" y="752963"/>
                    </a:lnTo>
                    <a:lnTo>
                      <a:pt x="18167" y="708142"/>
                    </a:lnTo>
                    <a:lnTo>
                      <a:pt x="8187" y="661829"/>
                    </a:lnTo>
                    <a:lnTo>
                      <a:pt x="2075" y="614193"/>
                    </a:lnTo>
                    <a:lnTo>
                      <a:pt x="0" y="565404"/>
                    </a:lnTo>
                    <a:close/>
                  </a:path>
                </a:pathLst>
              </a:custGeom>
              <a:ln w="19812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lang="nb-NO" sz="1350">
                  <a:solidFill>
                    <a:srgbClr val="5C5C5C"/>
                  </a:solidFill>
                  <a:latin typeface="Open Sans"/>
                </a:endParaRPr>
              </a:p>
            </p:txBody>
          </p:sp>
        </p:grpSp>
        <p:grpSp>
          <p:nvGrpSpPr>
            <p:cNvPr id="103" name="Group 171">
              <a:extLst>
                <a:ext uri="{FF2B5EF4-FFF2-40B4-BE49-F238E27FC236}">
                  <a16:creationId xmlns:a16="http://schemas.microsoft.com/office/drawing/2014/main" id="{D09ACADE-D0FB-40D3-AA10-0837B0898440}"/>
                </a:ext>
              </a:extLst>
            </p:cNvPr>
            <p:cNvGrpSpPr/>
            <p:nvPr/>
          </p:nvGrpSpPr>
          <p:grpSpPr>
            <a:xfrm>
              <a:off x="8649753" y="3056089"/>
              <a:ext cx="344545" cy="522890"/>
              <a:chOff x="980542" y="2093020"/>
              <a:chExt cx="414547" cy="629132"/>
            </a:xfrm>
          </p:grpSpPr>
          <p:sp>
            <p:nvSpPr>
              <p:cNvPr id="106" name="object 43">
                <a:extLst>
                  <a:ext uri="{FF2B5EF4-FFF2-40B4-BE49-F238E27FC236}">
                    <a16:creationId xmlns:a16="http://schemas.microsoft.com/office/drawing/2014/main" id="{611A3214-25DF-4CA5-8003-7E6F9D037F05}"/>
                  </a:ext>
                </a:extLst>
              </p:cNvPr>
              <p:cNvSpPr/>
              <p:nvPr/>
            </p:nvSpPr>
            <p:spPr>
              <a:xfrm rot="1751069">
                <a:off x="1220457" y="2302929"/>
                <a:ext cx="174632" cy="190205"/>
              </a:xfrm>
              <a:prstGeom prst="rect">
                <a:avLst/>
              </a:prstGeom>
              <a:blipFill>
                <a:blip r:embed="rId10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  <a:ln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lang="nb-NO"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07" name="object 8">
                <a:extLst>
                  <a:ext uri="{FF2B5EF4-FFF2-40B4-BE49-F238E27FC236}">
                    <a16:creationId xmlns:a16="http://schemas.microsoft.com/office/drawing/2014/main" id="{DC9D6104-BED2-4183-BA2A-43E111B01B86}"/>
                  </a:ext>
                </a:extLst>
              </p:cNvPr>
              <p:cNvSpPr/>
              <p:nvPr/>
            </p:nvSpPr>
            <p:spPr>
              <a:xfrm>
                <a:off x="980542" y="2093020"/>
                <a:ext cx="244578" cy="629132"/>
              </a:xfrm>
              <a:prstGeom prst="rect">
                <a:avLst/>
              </a:prstGeom>
              <a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lang="nb-NO" sz="1350">
                  <a:solidFill>
                    <a:srgbClr val="5C5C5C"/>
                  </a:solidFill>
                  <a:latin typeface="Open Sans"/>
                </a:endParaRPr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47A6E62-5730-4B16-A4AD-C8F98117B6E7}"/>
              </a:ext>
            </a:extLst>
          </p:cNvPr>
          <p:cNvGrpSpPr/>
          <p:nvPr/>
        </p:nvGrpSpPr>
        <p:grpSpPr>
          <a:xfrm>
            <a:off x="4784025" y="3082532"/>
            <a:ext cx="950337" cy="951444"/>
            <a:chOff x="3387468" y="4155546"/>
            <a:chExt cx="1267117" cy="1268592"/>
          </a:xfrm>
        </p:grpSpPr>
        <p:grpSp>
          <p:nvGrpSpPr>
            <p:cNvPr id="128" name="Group 191">
              <a:extLst>
                <a:ext uri="{FF2B5EF4-FFF2-40B4-BE49-F238E27FC236}">
                  <a16:creationId xmlns:a16="http://schemas.microsoft.com/office/drawing/2014/main" id="{D1F072D7-B984-4FD2-836A-DD7523900678}"/>
                </a:ext>
              </a:extLst>
            </p:cNvPr>
            <p:cNvGrpSpPr/>
            <p:nvPr/>
          </p:nvGrpSpPr>
          <p:grpSpPr>
            <a:xfrm>
              <a:off x="3573538" y="4406538"/>
              <a:ext cx="973630" cy="1017600"/>
              <a:chOff x="3467100" y="1822704"/>
              <a:chExt cx="1417447" cy="1481455"/>
            </a:xfrm>
          </p:grpSpPr>
          <p:sp>
            <p:nvSpPr>
              <p:cNvPr id="129" name="object 17">
                <a:extLst>
                  <a:ext uri="{FF2B5EF4-FFF2-40B4-BE49-F238E27FC236}">
                    <a16:creationId xmlns:a16="http://schemas.microsoft.com/office/drawing/2014/main" id="{DE2975AF-9759-4A16-9E5A-78792A4740BF}"/>
                  </a:ext>
                </a:extLst>
              </p:cNvPr>
              <p:cNvSpPr/>
              <p:nvPr/>
            </p:nvSpPr>
            <p:spPr>
              <a:xfrm>
                <a:off x="3550284" y="1898904"/>
                <a:ext cx="1259840" cy="1405255"/>
              </a:xfrm>
              <a:custGeom>
                <a:avLst/>
                <a:gdLst/>
                <a:ahLst/>
                <a:cxnLst/>
                <a:rect l="l" t="t" r="r" b="b"/>
                <a:pathLst>
                  <a:path w="1259839" h="1405254">
                    <a:moveTo>
                      <a:pt x="556132" y="0"/>
                    </a:moveTo>
                    <a:lnTo>
                      <a:pt x="604293" y="1620"/>
                    </a:lnTo>
                    <a:lnTo>
                      <a:pt x="651582" y="6414"/>
                    </a:lnTo>
                    <a:lnTo>
                      <a:pt x="697894" y="14274"/>
                    </a:lnTo>
                    <a:lnTo>
                      <a:pt x="743124" y="25098"/>
                    </a:lnTo>
                    <a:lnTo>
                      <a:pt x="787169" y="38780"/>
                    </a:lnTo>
                    <a:lnTo>
                      <a:pt x="829923" y="55215"/>
                    </a:lnTo>
                    <a:lnTo>
                      <a:pt x="871281" y="74299"/>
                    </a:lnTo>
                    <a:lnTo>
                      <a:pt x="911140" y="95927"/>
                    </a:lnTo>
                    <a:lnTo>
                      <a:pt x="949394" y="119994"/>
                    </a:lnTo>
                    <a:lnTo>
                      <a:pt x="985938" y="146397"/>
                    </a:lnTo>
                    <a:lnTo>
                      <a:pt x="1020669" y="175029"/>
                    </a:lnTo>
                    <a:lnTo>
                      <a:pt x="1053480" y="205787"/>
                    </a:lnTo>
                    <a:lnTo>
                      <a:pt x="1084269" y="238566"/>
                    </a:lnTo>
                    <a:lnTo>
                      <a:pt x="1112929" y="273261"/>
                    </a:lnTo>
                    <a:lnTo>
                      <a:pt x="1139356" y="309767"/>
                    </a:lnTo>
                    <a:lnTo>
                      <a:pt x="1163447" y="347980"/>
                    </a:lnTo>
                    <a:lnTo>
                      <a:pt x="1185094" y="387794"/>
                    </a:lnTo>
                    <a:lnTo>
                      <a:pt x="1204196" y="429107"/>
                    </a:lnTo>
                    <a:lnTo>
                      <a:pt x="1220645" y="471812"/>
                    </a:lnTo>
                    <a:lnTo>
                      <a:pt x="1234339" y="515805"/>
                    </a:lnTo>
                    <a:lnTo>
                      <a:pt x="1245172" y="560981"/>
                    </a:lnTo>
                    <a:lnTo>
                      <a:pt x="1253039" y="607236"/>
                    </a:lnTo>
                    <a:lnTo>
                      <a:pt x="1257836" y="654465"/>
                    </a:lnTo>
                    <a:lnTo>
                      <a:pt x="1259459" y="702563"/>
                    </a:lnTo>
                    <a:lnTo>
                      <a:pt x="1257836" y="750662"/>
                    </a:lnTo>
                    <a:lnTo>
                      <a:pt x="1253039" y="797891"/>
                    </a:lnTo>
                    <a:lnTo>
                      <a:pt x="1245172" y="844146"/>
                    </a:lnTo>
                    <a:lnTo>
                      <a:pt x="1234339" y="889322"/>
                    </a:lnTo>
                    <a:lnTo>
                      <a:pt x="1220645" y="933315"/>
                    </a:lnTo>
                    <a:lnTo>
                      <a:pt x="1204196" y="976020"/>
                    </a:lnTo>
                    <a:lnTo>
                      <a:pt x="1185094" y="1017333"/>
                    </a:lnTo>
                    <a:lnTo>
                      <a:pt x="1163447" y="1057147"/>
                    </a:lnTo>
                    <a:lnTo>
                      <a:pt x="1139356" y="1095360"/>
                    </a:lnTo>
                    <a:lnTo>
                      <a:pt x="1112929" y="1131866"/>
                    </a:lnTo>
                    <a:lnTo>
                      <a:pt x="1084269" y="1166561"/>
                    </a:lnTo>
                    <a:lnTo>
                      <a:pt x="1053480" y="1199340"/>
                    </a:lnTo>
                    <a:lnTo>
                      <a:pt x="1020669" y="1230098"/>
                    </a:lnTo>
                    <a:lnTo>
                      <a:pt x="985938" y="1258730"/>
                    </a:lnTo>
                    <a:lnTo>
                      <a:pt x="949394" y="1285133"/>
                    </a:lnTo>
                    <a:lnTo>
                      <a:pt x="911140" y="1309200"/>
                    </a:lnTo>
                    <a:lnTo>
                      <a:pt x="871281" y="1330828"/>
                    </a:lnTo>
                    <a:lnTo>
                      <a:pt x="829923" y="1349912"/>
                    </a:lnTo>
                    <a:lnTo>
                      <a:pt x="787169" y="1366347"/>
                    </a:lnTo>
                    <a:lnTo>
                      <a:pt x="743124" y="1380029"/>
                    </a:lnTo>
                    <a:lnTo>
                      <a:pt x="697894" y="1390853"/>
                    </a:lnTo>
                    <a:lnTo>
                      <a:pt x="651582" y="1398713"/>
                    </a:lnTo>
                    <a:lnTo>
                      <a:pt x="604293" y="1403507"/>
                    </a:lnTo>
                    <a:lnTo>
                      <a:pt x="556132" y="1405128"/>
                    </a:lnTo>
                    <a:lnTo>
                      <a:pt x="506172" y="1403355"/>
                    </a:lnTo>
                    <a:lnTo>
                      <a:pt x="456808" y="1398092"/>
                    </a:lnTo>
                    <a:lnTo>
                      <a:pt x="408205" y="1389418"/>
                    </a:lnTo>
                    <a:lnTo>
                      <a:pt x="360525" y="1377414"/>
                    </a:lnTo>
                    <a:lnTo>
                      <a:pt x="313933" y="1362159"/>
                    </a:lnTo>
                    <a:lnTo>
                      <a:pt x="268593" y="1343733"/>
                    </a:lnTo>
                    <a:lnTo>
                      <a:pt x="224667" y="1322217"/>
                    </a:lnTo>
                    <a:lnTo>
                      <a:pt x="182321" y="1297691"/>
                    </a:lnTo>
                    <a:lnTo>
                      <a:pt x="141717" y="1270235"/>
                    </a:lnTo>
                    <a:lnTo>
                      <a:pt x="103019" y="1239929"/>
                    </a:lnTo>
                    <a:lnTo>
                      <a:pt x="66391" y="1206853"/>
                    </a:lnTo>
                    <a:lnTo>
                      <a:pt x="31997" y="1171088"/>
                    </a:lnTo>
                    <a:lnTo>
                      <a:pt x="0" y="1132713"/>
                    </a:lnTo>
                  </a:path>
                </a:pathLst>
              </a:custGeom>
              <a:ln w="15240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30" name="object 18">
                <a:extLst>
                  <a:ext uri="{FF2B5EF4-FFF2-40B4-BE49-F238E27FC236}">
                    <a16:creationId xmlns:a16="http://schemas.microsoft.com/office/drawing/2014/main" id="{55A31FDB-EC81-4BBF-8CEE-1D7F93333163}"/>
                  </a:ext>
                </a:extLst>
              </p:cNvPr>
              <p:cNvSpPr/>
              <p:nvPr/>
            </p:nvSpPr>
            <p:spPr>
              <a:xfrm>
                <a:off x="3467100" y="1962911"/>
                <a:ext cx="1278890" cy="1277620"/>
              </a:xfrm>
              <a:custGeom>
                <a:avLst/>
                <a:gdLst/>
                <a:ahLst/>
                <a:cxnLst/>
                <a:rect l="l" t="t" r="r" b="b"/>
                <a:pathLst>
                  <a:path w="1278889" h="1277620">
                    <a:moveTo>
                      <a:pt x="639317" y="0"/>
                    </a:moveTo>
                    <a:lnTo>
                      <a:pt x="687027" y="1751"/>
                    </a:lnTo>
                    <a:lnTo>
                      <a:pt x="733785" y="6923"/>
                    </a:lnTo>
                    <a:lnTo>
                      <a:pt x="779468" y="15392"/>
                    </a:lnTo>
                    <a:lnTo>
                      <a:pt x="823952" y="27034"/>
                    </a:lnTo>
                    <a:lnTo>
                      <a:pt x="867112" y="41727"/>
                    </a:lnTo>
                    <a:lnTo>
                      <a:pt x="908827" y="59346"/>
                    </a:lnTo>
                    <a:lnTo>
                      <a:pt x="948971" y="79769"/>
                    </a:lnTo>
                    <a:lnTo>
                      <a:pt x="987422" y="102871"/>
                    </a:lnTo>
                    <a:lnTo>
                      <a:pt x="1024055" y="128530"/>
                    </a:lnTo>
                    <a:lnTo>
                      <a:pt x="1058747" y="156622"/>
                    </a:lnTo>
                    <a:lnTo>
                      <a:pt x="1091374" y="187023"/>
                    </a:lnTo>
                    <a:lnTo>
                      <a:pt x="1121813" y="219610"/>
                    </a:lnTo>
                    <a:lnTo>
                      <a:pt x="1149940" y="254260"/>
                    </a:lnTo>
                    <a:lnTo>
                      <a:pt x="1175631" y="290849"/>
                    </a:lnTo>
                    <a:lnTo>
                      <a:pt x="1198763" y="329253"/>
                    </a:lnTo>
                    <a:lnTo>
                      <a:pt x="1219212" y="369350"/>
                    </a:lnTo>
                    <a:lnTo>
                      <a:pt x="1236854" y="411016"/>
                    </a:lnTo>
                    <a:lnTo>
                      <a:pt x="1251565" y="454127"/>
                    </a:lnTo>
                    <a:lnTo>
                      <a:pt x="1263223" y="498560"/>
                    </a:lnTo>
                    <a:lnTo>
                      <a:pt x="1271703" y="544191"/>
                    </a:lnTo>
                    <a:lnTo>
                      <a:pt x="1276882" y="590898"/>
                    </a:lnTo>
                    <a:lnTo>
                      <a:pt x="1278636" y="638555"/>
                    </a:lnTo>
                    <a:lnTo>
                      <a:pt x="1276882" y="686213"/>
                    </a:lnTo>
                    <a:lnTo>
                      <a:pt x="1271703" y="732920"/>
                    </a:lnTo>
                    <a:lnTo>
                      <a:pt x="1263223" y="778551"/>
                    </a:lnTo>
                    <a:lnTo>
                      <a:pt x="1251565" y="822984"/>
                    </a:lnTo>
                    <a:lnTo>
                      <a:pt x="1236854" y="866095"/>
                    </a:lnTo>
                    <a:lnTo>
                      <a:pt x="1219212" y="907761"/>
                    </a:lnTo>
                    <a:lnTo>
                      <a:pt x="1198763" y="947858"/>
                    </a:lnTo>
                    <a:lnTo>
                      <a:pt x="1175631" y="986262"/>
                    </a:lnTo>
                    <a:lnTo>
                      <a:pt x="1149940" y="1022851"/>
                    </a:lnTo>
                    <a:lnTo>
                      <a:pt x="1121813" y="1057501"/>
                    </a:lnTo>
                    <a:lnTo>
                      <a:pt x="1091374" y="1090088"/>
                    </a:lnTo>
                    <a:lnTo>
                      <a:pt x="1058747" y="1120489"/>
                    </a:lnTo>
                    <a:lnTo>
                      <a:pt x="1024055" y="1148581"/>
                    </a:lnTo>
                    <a:lnTo>
                      <a:pt x="987422" y="1174240"/>
                    </a:lnTo>
                    <a:lnTo>
                      <a:pt x="948971" y="1197342"/>
                    </a:lnTo>
                    <a:lnTo>
                      <a:pt x="908827" y="1217765"/>
                    </a:lnTo>
                    <a:lnTo>
                      <a:pt x="867112" y="1235384"/>
                    </a:lnTo>
                    <a:lnTo>
                      <a:pt x="823952" y="1250077"/>
                    </a:lnTo>
                    <a:lnTo>
                      <a:pt x="779468" y="1261719"/>
                    </a:lnTo>
                    <a:lnTo>
                      <a:pt x="733785" y="1270188"/>
                    </a:lnTo>
                    <a:lnTo>
                      <a:pt x="687027" y="1275360"/>
                    </a:lnTo>
                    <a:lnTo>
                      <a:pt x="639317" y="1277112"/>
                    </a:lnTo>
                    <a:lnTo>
                      <a:pt x="591608" y="1275360"/>
                    </a:lnTo>
                    <a:lnTo>
                      <a:pt x="544850" y="1270188"/>
                    </a:lnTo>
                    <a:lnTo>
                      <a:pt x="499167" y="1261719"/>
                    </a:lnTo>
                    <a:lnTo>
                      <a:pt x="454683" y="1250077"/>
                    </a:lnTo>
                    <a:lnTo>
                      <a:pt x="411523" y="1235384"/>
                    </a:lnTo>
                    <a:lnTo>
                      <a:pt x="369808" y="1217765"/>
                    </a:lnTo>
                    <a:lnTo>
                      <a:pt x="329664" y="1197342"/>
                    </a:lnTo>
                    <a:lnTo>
                      <a:pt x="291213" y="1174240"/>
                    </a:lnTo>
                    <a:lnTo>
                      <a:pt x="254580" y="1148581"/>
                    </a:lnTo>
                    <a:lnTo>
                      <a:pt x="219888" y="1120489"/>
                    </a:lnTo>
                    <a:lnTo>
                      <a:pt x="187261" y="1090088"/>
                    </a:lnTo>
                    <a:lnTo>
                      <a:pt x="156822" y="1057501"/>
                    </a:lnTo>
                    <a:lnTo>
                      <a:pt x="128695" y="1022851"/>
                    </a:lnTo>
                    <a:lnTo>
                      <a:pt x="103004" y="986262"/>
                    </a:lnTo>
                    <a:lnTo>
                      <a:pt x="79872" y="947858"/>
                    </a:lnTo>
                    <a:lnTo>
                      <a:pt x="59423" y="907761"/>
                    </a:lnTo>
                    <a:lnTo>
                      <a:pt x="41781" y="866095"/>
                    </a:lnTo>
                    <a:lnTo>
                      <a:pt x="27070" y="822984"/>
                    </a:lnTo>
                    <a:lnTo>
                      <a:pt x="15412" y="778551"/>
                    </a:lnTo>
                    <a:lnTo>
                      <a:pt x="6932" y="732920"/>
                    </a:lnTo>
                    <a:lnTo>
                      <a:pt x="1753" y="686213"/>
                    </a:lnTo>
                    <a:lnTo>
                      <a:pt x="0" y="638555"/>
                    </a:lnTo>
                    <a:lnTo>
                      <a:pt x="2217" y="585401"/>
                    </a:lnTo>
                    <a:lnTo>
                      <a:pt x="8812" y="532886"/>
                    </a:lnTo>
                    <a:lnTo>
                      <a:pt x="19696" y="481266"/>
                    </a:lnTo>
                    <a:lnTo>
                      <a:pt x="34782" y="430799"/>
                    </a:lnTo>
                    <a:lnTo>
                      <a:pt x="53981" y="381744"/>
                    </a:lnTo>
                    <a:lnTo>
                      <a:pt x="77206" y="334357"/>
                    </a:lnTo>
                    <a:lnTo>
                      <a:pt x="104368" y="288895"/>
                    </a:lnTo>
                    <a:lnTo>
                      <a:pt x="135382" y="245617"/>
                    </a:lnTo>
                  </a:path>
                </a:pathLst>
              </a:custGeom>
              <a:ln w="15240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31" name="object 19">
                <a:extLst>
                  <a:ext uri="{FF2B5EF4-FFF2-40B4-BE49-F238E27FC236}">
                    <a16:creationId xmlns:a16="http://schemas.microsoft.com/office/drawing/2014/main" id="{D5164C2B-BB1B-4978-A5FC-91D61DC157A2}"/>
                  </a:ext>
                </a:extLst>
              </p:cNvPr>
              <p:cNvSpPr/>
              <p:nvPr/>
            </p:nvSpPr>
            <p:spPr>
              <a:xfrm>
                <a:off x="4111752" y="1822704"/>
                <a:ext cx="772795" cy="1082675"/>
              </a:xfrm>
              <a:custGeom>
                <a:avLst/>
                <a:gdLst/>
                <a:ahLst/>
                <a:cxnLst/>
                <a:rect l="l" t="t" r="r" b="b"/>
                <a:pathLst>
                  <a:path w="772795" h="1082675">
                    <a:moveTo>
                      <a:pt x="0" y="0"/>
                    </a:moveTo>
                    <a:lnTo>
                      <a:pt x="48863" y="1521"/>
                    </a:lnTo>
                    <a:lnTo>
                      <a:pt x="96919" y="6026"/>
                    </a:lnTo>
                    <a:lnTo>
                      <a:pt x="144077" y="13424"/>
                    </a:lnTo>
                    <a:lnTo>
                      <a:pt x="190246" y="23624"/>
                    </a:lnTo>
                    <a:lnTo>
                      <a:pt x="235337" y="36535"/>
                    </a:lnTo>
                    <a:lnTo>
                      <a:pt x="279258" y="52067"/>
                    </a:lnTo>
                    <a:lnTo>
                      <a:pt x="321919" y="70128"/>
                    </a:lnTo>
                    <a:lnTo>
                      <a:pt x="363229" y="90629"/>
                    </a:lnTo>
                    <a:lnTo>
                      <a:pt x="403098" y="113479"/>
                    </a:lnTo>
                    <a:lnTo>
                      <a:pt x="441436" y="138587"/>
                    </a:lnTo>
                    <a:lnTo>
                      <a:pt x="478151" y="165862"/>
                    </a:lnTo>
                    <a:lnTo>
                      <a:pt x="513154" y="195214"/>
                    </a:lnTo>
                    <a:lnTo>
                      <a:pt x="546354" y="226552"/>
                    </a:lnTo>
                    <a:lnTo>
                      <a:pt x="577659" y="259785"/>
                    </a:lnTo>
                    <a:lnTo>
                      <a:pt x="606981" y="294823"/>
                    </a:lnTo>
                    <a:lnTo>
                      <a:pt x="634228" y="331575"/>
                    </a:lnTo>
                    <a:lnTo>
                      <a:pt x="659309" y="369951"/>
                    </a:lnTo>
                    <a:lnTo>
                      <a:pt x="682135" y="409859"/>
                    </a:lnTo>
                    <a:lnTo>
                      <a:pt x="702614" y="451210"/>
                    </a:lnTo>
                    <a:lnTo>
                      <a:pt x="720657" y="493912"/>
                    </a:lnTo>
                    <a:lnTo>
                      <a:pt x="736172" y="537875"/>
                    </a:lnTo>
                    <a:lnTo>
                      <a:pt x="749069" y="583008"/>
                    </a:lnTo>
                    <a:lnTo>
                      <a:pt x="759257" y="629221"/>
                    </a:lnTo>
                    <a:lnTo>
                      <a:pt x="766647" y="676422"/>
                    </a:lnTo>
                    <a:lnTo>
                      <a:pt x="771147" y="724522"/>
                    </a:lnTo>
                    <a:lnTo>
                      <a:pt x="772668" y="773430"/>
                    </a:lnTo>
                    <a:lnTo>
                      <a:pt x="770853" y="826453"/>
                    </a:lnTo>
                    <a:lnTo>
                      <a:pt x="765433" y="879103"/>
                    </a:lnTo>
                    <a:lnTo>
                      <a:pt x="756443" y="931195"/>
                    </a:lnTo>
                    <a:lnTo>
                      <a:pt x="743918" y="982547"/>
                    </a:lnTo>
                    <a:lnTo>
                      <a:pt x="727894" y="1032974"/>
                    </a:lnTo>
                    <a:lnTo>
                      <a:pt x="708406" y="1082294"/>
                    </a:lnTo>
                  </a:path>
                </a:pathLst>
              </a:custGeom>
              <a:ln w="15240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32" name="object 40">
                <a:extLst>
                  <a:ext uri="{FF2B5EF4-FFF2-40B4-BE49-F238E27FC236}">
                    <a16:creationId xmlns:a16="http://schemas.microsoft.com/office/drawing/2014/main" id="{3AD09650-84F2-4DE5-B32C-B3A93640904D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565403" y="0"/>
                    </a:moveTo>
                    <a:lnTo>
                      <a:pt x="516614" y="2075"/>
                    </a:lnTo>
                    <a:lnTo>
                      <a:pt x="468978" y="8187"/>
                    </a:lnTo>
                    <a:lnTo>
                      <a:pt x="422665" y="18167"/>
                    </a:lnTo>
                    <a:lnTo>
                      <a:pt x="377844" y="31845"/>
                    </a:lnTo>
                    <a:lnTo>
                      <a:pt x="334686" y="49051"/>
                    </a:lnTo>
                    <a:lnTo>
                      <a:pt x="293360" y="69615"/>
                    </a:lnTo>
                    <a:lnTo>
                      <a:pt x="254034" y="93369"/>
                    </a:lnTo>
                    <a:lnTo>
                      <a:pt x="216881" y="120142"/>
                    </a:lnTo>
                    <a:lnTo>
                      <a:pt x="182067" y="149765"/>
                    </a:lnTo>
                    <a:lnTo>
                      <a:pt x="149765" y="182067"/>
                    </a:lnTo>
                    <a:lnTo>
                      <a:pt x="120142" y="216881"/>
                    </a:lnTo>
                    <a:lnTo>
                      <a:pt x="93369" y="254034"/>
                    </a:lnTo>
                    <a:lnTo>
                      <a:pt x="69615" y="293360"/>
                    </a:lnTo>
                    <a:lnTo>
                      <a:pt x="49051" y="334686"/>
                    </a:lnTo>
                    <a:lnTo>
                      <a:pt x="31845" y="377844"/>
                    </a:lnTo>
                    <a:lnTo>
                      <a:pt x="18167" y="422665"/>
                    </a:lnTo>
                    <a:lnTo>
                      <a:pt x="8187" y="468978"/>
                    </a:lnTo>
                    <a:lnTo>
                      <a:pt x="2075" y="516614"/>
                    </a:lnTo>
                    <a:lnTo>
                      <a:pt x="0" y="565404"/>
                    </a:lnTo>
                    <a:lnTo>
                      <a:pt x="2075" y="614193"/>
                    </a:lnTo>
                    <a:lnTo>
                      <a:pt x="8187" y="661829"/>
                    </a:lnTo>
                    <a:lnTo>
                      <a:pt x="18167" y="708142"/>
                    </a:lnTo>
                    <a:lnTo>
                      <a:pt x="31845" y="752963"/>
                    </a:lnTo>
                    <a:lnTo>
                      <a:pt x="49051" y="796121"/>
                    </a:lnTo>
                    <a:lnTo>
                      <a:pt x="69615" y="837447"/>
                    </a:lnTo>
                    <a:lnTo>
                      <a:pt x="93369" y="876773"/>
                    </a:lnTo>
                    <a:lnTo>
                      <a:pt x="120142" y="913926"/>
                    </a:lnTo>
                    <a:lnTo>
                      <a:pt x="149765" y="948740"/>
                    </a:lnTo>
                    <a:lnTo>
                      <a:pt x="182067" y="981042"/>
                    </a:lnTo>
                    <a:lnTo>
                      <a:pt x="216881" y="1010665"/>
                    </a:lnTo>
                    <a:lnTo>
                      <a:pt x="254034" y="1037438"/>
                    </a:lnTo>
                    <a:lnTo>
                      <a:pt x="293360" y="1061192"/>
                    </a:lnTo>
                    <a:lnTo>
                      <a:pt x="334686" y="1081756"/>
                    </a:lnTo>
                    <a:lnTo>
                      <a:pt x="377844" y="1098962"/>
                    </a:lnTo>
                    <a:lnTo>
                      <a:pt x="422665" y="1112640"/>
                    </a:lnTo>
                    <a:lnTo>
                      <a:pt x="468978" y="1122620"/>
                    </a:lnTo>
                    <a:lnTo>
                      <a:pt x="516614" y="1128732"/>
                    </a:lnTo>
                    <a:lnTo>
                      <a:pt x="565403" y="1130808"/>
                    </a:lnTo>
                    <a:lnTo>
                      <a:pt x="614193" y="1128732"/>
                    </a:lnTo>
                    <a:lnTo>
                      <a:pt x="661829" y="1122620"/>
                    </a:lnTo>
                    <a:lnTo>
                      <a:pt x="708142" y="1112640"/>
                    </a:lnTo>
                    <a:lnTo>
                      <a:pt x="752963" y="1098962"/>
                    </a:lnTo>
                    <a:lnTo>
                      <a:pt x="796121" y="1081756"/>
                    </a:lnTo>
                    <a:lnTo>
                      <a:pt x="837447" y="1061192"/>
                    </a:lnTo>
                    <a:lnTo>
                      <a:pt x="876773" y="1037438"/>
                    </a:lnTo>
                    <a:lnTo>
                      <a:pt x="913926" y="1010665"/>
                    </a:lnTo>
                    <a:lnTo>
                      <a:pt x="948740" y="981042"/>
                    </a:lnTo>
                    <a:lnTo>
                      <a:pt x="981042" y="948740"/>
                    </a:lnTo>
                    <a:lnTo>
                      <a:pt x="1010665" y="913926"/>
                    </a:lnTo>
                    <a:lnTo>
                      <a:pt x="1037438" y="876773"/>
                    </a:lnTo>
                    <a:lnTo>
                      <a:pt x="1061192" y="837447"/>
                    </a:lnTo>
                    <a:lnTo>
                      <a:pt x="1081756" y="796121"/>
                    </a:lnTo>
                    <a:lnTo>
                      <a:pt x="1098962" y="752963"/>
                    </a:lnTo>
                    <a:lnTo>
                      <a:pt x="1112640" y="708142"/>
                    </a:lnTo>
                    <a:lnTo>
                      <a:pt x="1122620" y="661829"/>
                    </a:lnTo>
                    <a:lnTo>
                      <a:pt x="1128732" y="614193"/>
                    </a:lnTo>
                    <a:lnTo>
                      <a:pt x="1130807" y="565404"/>
                    </a:lnTo>
                    <a:lnTo>
                      <a:pt x="1128732" y="516614"/>
                    </a:lnTo>
                    <a:lnTo>
                      <a:pt x="1122620" y="468978"/>
                    </a:lnTo>
                    <a:lnTo>
                      <a:pt x="1112640" y="422665"/>
                    </a:lnTo>
                    <a:lnTo>
                      <a:pt x="1098962" y="377844"/>
                    </a:lnTo>
                    <a:lnTo>
                      <a:pt x="1081756" y="334686"/>
                    </a:lnTo>
                    <a:lnTo>
                      <a:pt x="1061192" y="293360"/>
                    </a:lnTo>
                    <a:lnTo>
                      <a:pt x="1037438" y="254034"/>
                    </a:lnTo>
                    <a:lnTo>
                      <a:pt x="1010665" y="216881"/>
                    </a:lnTo>
                    <a:lnTo>
                      <a:pt x="981042" y="182067"/>
                    </a:lnTo>
                    <a:lnTo>
                      <a:pt x="948740" y="149765"/>
                    </a:lnTo>
                    <a:lnTo>
                      <a:pt x="913926" y="120142"/>
                    </a:lnTo>
                    <a:lnTo>
                      <a:pt x="876773" y="93369"/>
                    </a:lnTo>
                    <a:lnTo>
                      <a:pt x="837447" y="69615"/>
                    </a:lnTo>
                    <a:lnTo>
                      <a:pt x="796121" y="49051"/>
                    </a:lnTo>
                    <a:lnTo>
                      <a:pt x="752963" y="31845"/>
                    </a:lnTo>
                    <a:lnTo>
                      <a:pt x="708142" y="18167"/>
                    </a:lnTo>
                    <a:lnTo>
                      <a:pt x="661829" y="8187"/>
                    </a:lnTo>
                    <a:lnTo>
                      <a:pt x="614193" y="2075"/>
                    </a:lnTo>
                    <a:lnTo>
                      <a:pt x="56540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33" name="object 41">
                <a:extLst>
                  <a:ext uri="{FF2B5EF4-FFF2-40B4-BE49-F238E27FC236}">
                    <a16:creationId xmlns:a16="http://schemas.microsoft.com/office/drawing/2014/main" id="{F18F1BE6-939E-416E-95B8-A6E75A06F6FE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0" y="565404"/>
                    </a:moveTo>
                    <a:lnTo>
                      <a:pt x="2075" y="516614"/>
                    </a:lnTo>
                    <a:lnTo>
                      <a:pt x="8187" y="468978"/>
                    </a:lnTo>
                    <a:lnTo>
                      <a:pt x="18167" y="422665"/>
                    </a:lnTo>
                    <a:lnTo>
                      <a:pt x="31845" y="377844"/>
                    </a:lnTo>
                    <a:lnTo>
                      <a:pt x="49051" y="334686"/>
                    </a:lnTo>
                    <a:lnTo>
                      <a:pt x="69615" y="293360"/>
                    </a:lnTo>
                    <a:lnTo>
                      <a:pt x="93369" y="254034"/>
                    </a:lnTo>
                    <a:lnTo>
                      <a:pt x="120142" y="216881"/>
                    </a:lnTo>
                    <a:lnTo>
                      <a:pt x="149765" y="182067"/>
                    </a:lnTo>
                    <a:lnTo>
                      <a:pt x="182067" y="149765"/>
                    </a:lnTo>
                    <a:lnTo>
                      <a:pt x="216881" y="120142"/>
                    </a:lnTo>
                    <a:lnTo>
                      <a:pt x="254034" y="93369"/>
                    </a:lnTo>
                    <a:lnTo>
                      <a:pt x="293360" y="69615"/>
                    </a:lnTo>
                    <a:lnTo>
                      <a:pt x="334686" y="49051"/>
                    </a:lnTo>
                    <a:lnTo>
                      <a:pt x="377844" y="31845"/>
                    </a:lnTo>
                    <a:lnTo>
                      <a:pt x="422665" y="18167"/>
                    </a:lnTo>
                    <a:lnTo>
                      <a:pt x="468978" y="8187"/>
                    </a:lnTo>
                    <a:lnTo>
                      <a:pt x="516614" y="2075"/>
                    </a:lnTo>
                    <a:lnTo>
                      <a:pt x="565403" y="0"/>
                    </a:lnTo>
                    <a:lnTo>
                      <a:pt x="614193" y="2075"/>
                    </a:lnTo>
                    <a:lnTo>
                      <a:pt x="661829" y="8187"/>
                    </a:lnTo>
                    <a:lnTo>
                      <a:pt x="708142" y="18167"/>
                    </a:lnTo>
                    <a:lnTo>
                      <a:pt x="752963" y="31845"/>
                    </a:lnTo>
                    <a:lnTo>
                      <a:pt x="796121" y="49051"/>
                    </a:lnTo>
                    <a:lnTo>
                      <a:pt x="837447" y="69615"/>
                    </a:lnTo>
                    <a:lnTo>
                      <a:pt x="876773" y="93369"/>
                    </a:lnTo>
                    <a:lnTo>
                      <a:pt x="913926" y="120142"/>
                    </a:lnTo>
                    <a:lnTo>
                      <a:pt x="948740" y="149765"/>
                    </a:lnTo>
                    <a:lnTo>
                      <a:pt x="981042" y="182067"/>
                    </a:lnTo>
                    <a:lnTo>
                      <a:pt x="1010665" y="216881"/>
                    </a:lnTo>
                    <a:lnTo>
                      <a:pt x="1037438" y="254034"/>
                    </a:lnTo>
                    <a:lnTo>
                      <a:pt x="1061192" y="293360"/>
                    </a:lnTo>
                    <a:lnTo>
                      <a:pt x="1081756" y="334686"/>
                    </a:lnTo>
                    <a:lnTo>
                      <a:pt x="1098962" y="377844"/>
                    </a:lnTo>
                    <a:lnTo>
                      <a:pt x="1112640" y="422665"/>
                    </a:lnTo>
                    <a:lnTo>
                      <a:pt x="1122620" y="468978"/>
                    </a:lnTo>
                    <a:lnTo>
                      <a:pt x="1128732" y="516614"/>
                    </a:lnTo>
                    <a:lnTo>
                      <a:pt x="1130807" y="565404"/>
                    </a:lnTo>
                    <a:lnTo>
                      <a:pt x="1128732" y="614193"/>
                    </a:lnTo>
                    <a:lnTo>
                      <a:pt x="1122620" y="661829"/>
                    </a:lnTo>
                    <a:lnTo>
                      <a:pt x="1112640" y="708142"/>
                    </a:lnTo>
                    <a:lnTo>
                      <a:pt x="1098962" y="752963"/>
                    </a:lnTo>
                    <a:lnTo>
                      <a:pt x="1081756" y="796121"/>
                    </a:lnTo>
                    <a:lnTo>
                      <a:pt x="1061192" y="837447"/>
                    </a:lnTo>
                    <a:lnTo>
                      <a:pt x="1037438" y="876773"/>
                    </a:lnTo>
                    <a:lnTo>
                      <a:pt x="1010665" y="913926"/>
                    </a:lnTo>
                    <a:lnTo>
                      <a:pt x="981042" y="948740"/>
                    </a:lnTo>
                    <a:lnTo>
                      <a:pt x="948740" y="981042"/>
                    </a:lnTo>
                    <a:lnTo>
                      <a:pt x="913926" y="1010665"/>
                    </a:lnTo>
                    <a:lnTo>
                      <a:pt x="876773" y="1037438"/>
                    </a:lnTo>
                    <a:lnTo>
                      <a:pt x="837447" y="1061192"/>
                    </a:lnTo>
                    <a:lnTo>
                      <a:pt x="796121" y="1081756"/>
                    </a:lnTo>
                    <a:lnTo>
                      <a:pt x="752963" y="1098962"/>
                    </a:lnTo>
                    <a:lnTo>
                      <a:pt x="708142" y="1112640"/>
                    </a:lnTo>
                    <a:lnTo>
                      <a:pt x="661829" y="1122620"/>
                    </a:lnTo>
                    <a:lnTo>
                      <a:pt x="614193" y="1128732"/>
                    </a:lnTo>
                    <a:lnTo>
                      <a:pt x="565403" y="1130808"/>
                    </a:lnTo>
                    <a:lnTo>
                      <a:pt x="516614" y="1128732"/>
                    </a:lnTo>
                    <a:lnTo>
                      <a:pt x="468978" y="1122620"/>
                    </a:lnTo>
                    <a:lnTo>
                      <a:pt x="422665" y="1112640"/>
                    </a:lnTo>
                    <a:lnTo>
                      <a:pt x="377844" y="1098962"/>
                    </a:lnTo>
                    <a:lnTo>
                      <a:pt x="334686" y="1081756"/>
                    </a:lnTo>
                    <a:lnTo>
                      <a:pt x="293360" y="1061192"/>
                    </a:lnTo>
                    <a:lnTo>
                      <a:pt x="254034" y="1037438"/>
                    </a:lnTo>
                    <a:lnTo>
                      <a:pt x="216881" y="1010665"/>
                    </a:lnTo>
                    <a:lnTo>
                      <a:pt x="182067" y="981042"/>
                    </a:lnTo>
                    <a:lnTo>
                      <a:pt x="149765" y="948740"/>
                    </a:lnTo>
                    <a:lnTo>
                      <a:pt x="120142" y="913926"/>
                    </a:lnTo>
                    <a:lnTo>
                      <a:pt x="93369" y="876773"/>
                    </a:lnTo>
                    <a:lnTo>
                      <a:pt x="69615" y="837447"/>
                    </a:lnTo>
                    <a:lnTo>
                      <a:pt x="49051" y="796121"/>
                    </a:lnTo>
                    <a:lnTo>
                      <a:pt x="31845" y="752963"/>
                    </a:lnTo>
                    <a:lnTo>
                      <a:pt x="18167" y="708142"/>
                    </a:lnTo>
                    <a:lnTo>
                      <a:pt x="8187" y="661829"/>
                    </a:lnTo>
                    <a:lnTo>
                      <a:pt x="2075" y="614193"/>
                    </a:lnTo>
                    <a:lnTo>
                      <a:pt x="0" y="565404"/>
                    </a:lnTo>
                    <a:close/>
                  </a:path>
                </a:pathLst>
              </a:custGeom>
              <a:ln w="19812">
                <a:solidFill>
                  <a:schemeClr val="accent3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</p:grpSp>
        <p:sp>
          <p:nvSpPr>
            <p:cNvPr id="134" name="object 65">
              <a:extLst>
                <a:ext uri="{FF2B5EF4-FFF2-40B4-BE49-F238E27FC236}">
                  <a16:creationId xmlns:a16="http://schemas.microsoft.com/office/drawing/2014/main" id="{09FD76CA-80B1-4C7D-826A-6ADCE87DD518}"/>
                </a:ext>
              </a:extLst>
            </p:cNvPr>
            <p:cNvSpPr/>
            <p:nvPr/>
          </p:nvSpPr>
          <p:spPr>
            <a:xfrm>
              <a:off x="3614846" y="4807605"/>
              <a:ext cx="391511" cy="324515"/>
            </a:xfrm>
            <a:prstGeom prst="rect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685800">
                <a:defRPr/>
              </a:pPr>
              <a:endParaRPr sz="675" kern="0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135" name="object 66">
              <a:extLst>
                <a:ext uri="{FF2B5EF4-FFF2-40B4-BE49-F238E27FC236}">
                  <a16:creationId xmlns:a16="http://schemas.microsoft.com/office/drawing/2014/main" id="{75409A7E-22CC-40B8-A6E4-ED9ED4279912}"/>
                </a:ext>
              </a:extLst>
            </p:cNvPr>
            <p:cNvSpPr/>
            <p:nvPr/>
          </p:nvSpPr>
          <p:spPr>
            <a:xfrm>
              <a:off x="4059653" y="4822367"/>
              <a:ext cx="391511" cy="314047"/>
            </a:xfrm>
            <a:prstGeom prst="rect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685800">
                <a:defRPr/>
              </a:pPr>
              <a:endParaRPr sz="675" kern="0">
                <a:solidFill>
                  <a:srgbClr val="5C5C5C"/>
                </a:solidFill>
                <a:latin typeface="Open Sans"/>
              </a:endParaRPr>
            </a:p>
          </p:txBody>
        </p:sp>
        <p:grpSp>
          <p:nvGrpSpPr>
            <p:cNvPr id="156" name="Group 197">
              <a:extLst>
                <a:ext uri="{FF2B5EF4-FFF2-40B4-BE49-F238E27FC236}">
                  <a16:creationId xmlns:a16="http://schemas.microsoft.com/office/drawing/2014/main" id="{6BE9528E-3AD1-462E-B6E4-92ACB43F03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77938" y="4867201"/>
              <a:ext cx="111489" cy="117448"/>
              <a:chOff x="11252687" y="2635737"/>
              <a:chExt cx="237639" cy="250338"/>
            </a:xfrm>
            <a:solidFill>
              <a:srgbClr val="000000"/>
            </a:solidFill>
          </p:grpSpPr>
          <p:sp>
            <p:nvSpPr>
              <p:cNvPr id="158" name="Freeform 122">
                <a:extLst>
                  <a:ext uri="{FF2B5EF4-FFF2-40B4-BE49-F238E27FC236}">
                    <a16:creationId xmlns:a16="http://schemas.microsoft.com/office/drawing/2014/main" id="{D5D11A65-1BF7-4A31-9A7C-5CB1B31CB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8551" y="2698750"/>
                <a:ext cx="107950" cy="187325"/>
              </a:xfrm>
              <a:custGeom>
                <a:avLst/>
                <a:gdLst>
                  <a:gd name="T0" fmla="*/ 136 w 136"/>
                  <a:gd name="T1" fmla="*/ 50 h 235"/>
                  <a:gd name="T2" fmla="*/ 0 w 136"/>
                  <a:gd name="T3" fmla="*/ 0 h 235"/>
                  <a:gd name="T4" fmla="*/ 0 w 136"/>
                  <a:gd name="T5" fmla="*/ 183 h 235"/>
                  <a:gd name="T6" fmla="*/ 0 w 136"/>
                  <a:gd name="T7" fmla="*/ 183 h 235"/>
                  <a:gd name="T8" fmla="*/ 0 w 136"/>
                  <a:gd name="T9" fmla="*/ 185 h 235"/>
                  <a:gd name="T10" fmla="*/ 3 w 136"/>
                  <a:gd name="T11" fmla="*/ 187 h 235"/>
                  <a:gd name="T12" fmla="*/ 136 w 136"/>
                  <a:gd name="T13" fmla="*/ 235 h 235"/>
                  <a:gd name="T14" fmla="*/ 136 w 136"/>
                  <a:gd name="T15" fmla="*/ 50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235">
                    <a:moveTo>
                      <a:pt x="136" y="50"/>
                    </a:moveTo>
                    <a:lnTo>
                      <a:pt x="0" y="0"/>
                    </a:lnTo>
                    <a:lnTo>
                      <a:pt x="0" y="183"/>
                    </a:lnTo>
                    <a:lnTo>
                      <a:pt x="0" y="183"/>
                    </a:lnTo>
                    <a:lnTo>
                      <a:pt x="0" y="185"/>
                    </a:lnTo>
                    <a:lnTo>
                      <a:pt x="3" y="187"/>
                    </a:lnTo>
                    <a:lnTo>
                      <a:pt x="136" y="235"/>
                    </a:lnTo>
                    <a:lnTo>
                      <a:pt x="136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69" name="Freeform 123">
                <a:extLst>
                  <a:ext uri="{FF2B5EF4-FFF2-40B4-BE49-F238E27FC236}">
                    <a16:creationId xmlns:a16="http://schemas.microsoft.com/office/drawing/2014/main" id="{3002D40B-73C4-410A-ADD5-D7303A44F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52687" y="2635737"/>
                <a:ext cx="215900" cy="68263"/>
              </a:xfrm>
              <a:custGeom>
                <a:avLst/>
                <a:gdLst>
                  <a:gd name="T0" fmla="*/ 136 w 273"/>
                  <a:gd name="T1" fmla="*/ 87 h 87"/>
                  <a:gd name="T2" fmla="*/ 273 w 273"/>
                  <a:gd name="T3" fmla="*/ 39 h 87"/>
                  <a:gd name="T4" fmla="*/ 137 w 273"/>
                  <a:gd name="T5" fmla="*/ 0 h 87"/>
                  <a:gd name="T6" fmla="*/ 137 w 273"/>
                  <a:gd name="T7" fmla="*/ 0 h 87"/>
                  <a:gd name="T8" fmla="*/ 134 w 273"/>
                  <a:gd name="T9" fmla="*/ 0 h 87"/>
                  <a:gd name="T10" fmla="*/ 0 w 273"/>
                  <a:gd name="T11" fmla="*/ 39 h 87"/>
                  <a:gd name="T12" fmla="*/ 136 w 273"/>
                  <a:gd name="T13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3" h="87">
                    <a:moveTo>
                      <a:pt x="136" y="87"/>
                    </a:moveTo>
                    <a:lnTo>
                      <a:pt x="273" y="39"/>
                    </a:lnTo>
                    <a:lnTo>
                      <a:pt x="137" y="0"/>
                    </a:lnTo>
                    <a:lnTo>
                      <a:pt x="137" y="0"/>
                    </a:lnTo>
                    <a:lnTo>
                      <a:pt x="134" y="0"/>
                    </a:lnTo>
                    <a:lnTo>
                      <a:pt x="0" y="39"/>
                    </a:lnTo>
                    <a:lnTo>
                      <a:pt x="136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70" name="Freeform 124">
                <a:extLst>
                  <a:ext uri="{FF2B5EF4-FFF2-40B4-BE49-F238E27FC236}">
                    <a16:creationId xmlns:a16="http://schemas.microsoft.com/office/drawing/2014/main" id="{507024E5-21A2-4E10-969D-21A55EA7E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83963" y="2698750"/>
                <a:ext cx="106363" cy="187325"/>
              </a:xfrm>
              <a:custGeom>
                <a:avLst/>
                <a:gdLst>
                  <a:gd name="T0" fmla="*/ 0 w 136"/>
                  <a:gd name="T1" fmla="*/ 50 h 235"/>
                  <a:gd name="T2" fmla="*/ 0 w 136"/>
                  <a:gd name="T3" fmla="*/ 235 h 235"/>
                  <a:gd name="T4" fmla="*/ 133 w 136"/>
                  <a:gd name="T5" fmla="*/ 187 h 235"/>
                  <a:gd name="T6" fmla="*/ 133 w 136"/>
                  <a:gd name="T7" fmla="*/ 187 h 235"/>
                  <a:gd name="T8" fmla="*/ 136 w 136"/>
                  <a:gd name="T9" fmla="*/ 185 h 235"/>
                  <a:gd name="T10" fmla="*/ 136 w 136"/>
                  <a:gd name="T11" fmla="*/ 183 h 235"/>
                  <a:gd name="T12" fmla="*/ 136 w 136"/>
                  <a:gd name="T13" fmla="*/ 0 h 235"/>
                  <a:gd name="T14" fmla="*/ 0 w 136"/>
                  <a:gd name="T15" fmla="*/ 50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235">
                    <a:moveTo>
                      <a:pt x="0" y="50"/>
                    </a:moveTo>
                    <a:lnTo>
                      <a:pt x="0" y="235"/>
                    </a:lnTo>
                    <a:lnTo>
                      <a:pt x="133" y="187"/>
                    </a:lnTo>
                    <a:lnTo>
                      <a:pt x="133" y="187"/>
                    </a:lnTo>
                    <a:lnTo>
                      <a:pt x="136" y="185"/>
                    </a:lnTo>
                    <a:lnTo>
                      <a:pt x="136" y="183"/>
                    </a:lnTo>
                    <a:lnTo>
                      <a:pt x="136" y="0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675" kern="0">
                  <a:solidFill>
                    <a:srgbClr val="5C5C5C"/>
                  </a:solidFill>
                  <a:latin typeface="Open Sans"/>
                </a:endParaRPr>
              </a:p>
            </p:txBody>
          </p:sp>
        </p:grpSp>
        <p:sp>
          <p:nvSpPr>
            <p:cNvPr id="173" name="object 56">
              <a:extLst>
                <a:ext uri="{FF2B5EF4-FFF2-40B4-BE49-F238E27FC236}">
                  <a16:creationId xmlns:a16="http://schemas.microsoft.com/office/drawing/2014/main" id="{E3E94116-EAE1-4EEB-9C2F-613DDAE97461}"/>
                </a:ext>
              </a:extLst>
            </p:cNvPr>
            <p:cNvSpPr txBox="1"/>
            <p:nvPr/>
          </p:nvSpPr>
          <p:spPr>
            <a:xfrm>
              <a:off x="3387468" y="4155546"/>
              <a:ext cx="1267117" cy="135293"/>
            </a:xfrm>
            <a:prstGeom prst="rect">
              <a:avLst/>
            </a:prstGeom>
          </p:spPr>
          <p:txBody>
            <a:bodyPr vert="horz" wrap="square" lIns="0" tIns="9049" rIns="0" bIns="0" rtlCol="0" anchor="t">
              <a:spAutoFit/>
            </a:bodyPr>
            <a:lstStyle/>
            <a:p>
              <a:pPr algn="ctr" defTabSz="685800">
                <a:spcBef>
                  <a:spcPts val="71"/>
                </a:spcBef>
                <a:defRPr/>
              </a:pPr>
              <a:r>
                <a:rPr lang="nb-NO" sz="600" spc="-8">
                  <a:solidFill>
                    <a:srgbClr val="000000"/>
                  </a:solidFill>
                  <a:latin typeface="Poppins" panose="00000800000000000000" charset="0"/>
                  <a:cs typeface="Poppins" panose="00000800000000000000" charset="0"/>
                </a:rPr>
                <a:t>Utbetalingen klargjøres</a:t>
              </a:r>
              <a:endParaRPr lang="nb-NO" sz="600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endParaRPr>
            </a:p>
          </p:txBody>
        </p:sp>
      </p:grpSp>
      <p:grpSp>
        <p:nvGrpSpPr>
          <p:cNvPr id="174" name="Group 170">
            <a:extLst>
              <a:ext uri="{FF2B5EF4-FFF2-40B4-BE49-F238E27FC236}">
                <a16:creationId xmlns:a16="http://schemas.microsoft.com/office/drawing/2014/main" id="{96D74939-1119-4DE2-8DC9-BD3B8EF84B0F}"/>
              </a:ext>
            </a:extLst>
          </p:cNvPr>
          <p:cNvGrpSpPr/>
          <p:nvPr/>
        </p:nvGrpSpPr>
        <p:grpSpPr>
          <a:xfrm>
            <a:off x="3478247" y="3065337"/>
            <a:ext cx="730227" cy="763200"/>
            <a:chOff x="3467100" y="1822704"/>
            <a:chExt cx="1417447" cy="1481455"/>
          </a:xfrm>
        </p:grpSpPr>
        <p:sp>
          <p:nvSpPr>
            <p:cNvPr id="175" name="object 17">
              <a:extLst>
                <a:ext uri="{FF2B5EF4-FFF2-40B4-BE49-F238E27FC236}">
                  <a16:creationId xmlns:a16="http://schemas.microsoft.com/office/drawing/2014/main" id="{DC342A2A-8DB9-4002-A3F7-4D0BECFB0B40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  <p:sp>
          <p:nvSpPr>
            <p:cNvPr id="176" name="object 18">
              <a:extLst>
                <a:ext uri="{FF2B5EF4-FFF2-40B4-BE49-F238E27FC236}">
                  <a16:creationId xmlns:a16="http://schemas.microsoft.com/office/drawing/2014/main" id="{4EEFB9BF-C19B-47A3-9CA8-08F7B814CBF5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  <p:sp>
          <p:nvSpPr>
            <p:cNvPr id="177" name="object 19">
              <a:extLst>
                <a:ext uri="{FF2B5EF4-FFF2-40B4-BE49-F238E27FC236}">
                  <a16:creationId xmlns:a16="http://schemas.microsoft.com/office/drawing/2014/main" id="{ABBB881B-1F05-4C42-A5B2-96637C5B7535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  <p:sp>
          <p:nvSpPr>
            <p:cNvPr id="178" name="object 40">
              <a:extLst>
                <a:ext uri="{FF2B5EF4-FFF2-40B4-BE49-F238E27FC236}">
                  <a16:creationId xmlns:a16="http://schemas.microsoft.com/office/drawing/2014/main" id="{320DAEAE-76B7-4B74-A098-FE7039FD0DBA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  <p:sp>
          <p:nvSpPr>
            <p:cNvPr id="179" name="object 41">
              <a:extLst>
                <a:ext uri="{FF2B5EF4-FFF2-40B4-BE49-F238E27FC236}">
                  <a16:creationId xmlns:a16="http://schemas.microsoft.com/office/drawing/2014/main" id="{81D93E08-343D-4010-B6C7-5937E50D65F9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3C9D1A2-A7D5-4D43-A549-0DFA9076052D}"/>
              </a:ext>
            </a:extLst>
          </p:cNvPr>
          <p:cNvGrpSpPr/>
          <p:nvPr/>
        </p:nvGrpSpPr>
        <p:grpSpPr>
          <a:xfrm>
            <a:off x="3640693" y="3260823"/>
            <a:ext cx="297402" cy="409218"/>
            <a:chOff x="5546206" y="5660488"/>
            <a:chExt cx="396537" cy="545624"/>
          </a:xfrm>
        </p:grpSpPr>
        <p:sp>
          <p:nvSpPr>
            <p:cNvPr id="181" name="object 8">
              <a:extLst>
                <a:ext uri="{FF2B5EF4-FFF2-40B4-BE49-F238E27FC236}">
                  <a16:creationId xmlns:a16="http://schemas.microsoft.com/office/drawing/2014/main" id="{482C77C0-170A-4F13-8B52-DF98DE8515E3}"/>
                </a:ext>
              </a:extLst>
            </p:cNvPr>
            <p:cNvSpPr/>
            <p:nvPr/>
          </p:nvSpPr>
          <p:spPr>
            <a:xfrm flipH="1">
              <a:off x="5739828" y="5660488"/>
              <a:ext cx="202915" cy="545624"/>
            </a:xfrm>
            <a:prstGeom prst="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sz="600">
                <a:solidFill>
                  <a:srgbClr val="5C5C5C"/>
                </a:solidFill>
                <a:latin typeface="Open Sans"/>
                <a:cs typeface="Arial"/>
                <a:sym typeface="Arial"/>
              </a:endParaRPr>
            </a:p>
          </p:txBody>
        </p:sp>
        <p:pic>
          <p:nvPicPr>
            <p:cNvPr id="182" name="Graphic 181" descr="Checklist RTL">
              <a:extLst>
                <a:ext uri="{FF2B5EF4-FFF2-40B4-BE49-F238E27FC236}">
                  <a16:creationId xmlns:a16="http://schemas.microsoft.com/office/drawing/2014/main" id="{A6485FE1-A45C-4B1B-84C5-A8441CCE1F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546206" y="5847240"/>
              <a:ext cx="209028" cy="20902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0176CC2-5A8F-46D4-97FE-69AAA34024EF}"/>
              </a:ext>
            </a:extLst>
          </p:cNvPr>
          <p:cNvGrpSpPr/>
          <p:nvPr/>
        </p:nvGrpSpPr>
        <p:grpSpPr>
          <a:xfrm>
            <a:off x="6368736" y="3034312"/>
            <a:ext cx="730226" cy="1023942"/>
            <a:chOff x="2500275" y="5545729"/>
            <a:chExt cx="973634" cy="1365256"/>
          </a:xfrm>
        </p:grpSpPr>
        <p:grpSp>
          <p:nvGrpSpPr>
            <p:cNvPr id="119" name="Group 181">
              <a:extLst>
                <a:ext uri="{FF2B5EF4-FFF2-40B4-BE49-F238E27FC236}">
                  <a16:creationId xmlns:a16="http://schemas.microsoft.com/office/drawing/2014/main" id="{5CD09692-D9AD-48D5-A116-41A5C7B851CB}"/>
                </a:ext>
              </a:extLst>
            </p:cNvPr>
            <p:cNvGrpSpPr/>
            <p:nvPr/>
          </p:nvGrpSpPr>
          <p:grpSpPr>
            <a:xfrm>
              <a:off x="2500275" y="5545729"/>
              <a:ext cx="973634" cy="1017600"/>
              <a:chOff x="3467100" y="1822704"/>
              <a:chExt cx="1417447" cy="1481455"/>
            </a:xfrm>
          </p:grpSpPr>
          <p:sp>
            <p:nvSpPr>
              <p:cNvPr id="120" name="object 17">
                <a:extLst>
                  <a:ext uri="{FF2B5EF4-FFF2-40B4-BE49-F238E27FC236}">
                    <a16:creationId xmlns:a16="http://schemas.microsoft.com/office/drawing/2014/main" id="{BE82A4FC-B03B-4112-BA38-3DAAC4842F9E}"/>
                  </a:ext>
                </a:extLst>
              </p:cNvPr>
              <p:cNvSpPr/>
              <p:nvPr/>
            </p:nvSpPr>
            <p:spPr>
              <a:xfrm>
                <a:off x="3550284" y="1898904"/>
                <a:ext cx="1259840" cy="1405255"/>
              </a:xfrm>
              <a:custGeom>
                <a:avLst/>
                <a:gdLst/>
                <a:ahLst/>
                <a:cxnLst/>
                <a:rect l="l" t="t" r="r" b="b"/>
                <a:pathLst>
                  <a:path w="1259839" h="1405254">
                    <a:moveTo>
                      <a:pt x="556132" y="0"/>
                    </a:moveTo>
                    <a:lnTo>
                      <a:pt x="604293" y="1620"/>
                    </a:lnTo>
                    <a:lnTo>
                      <a:pt x="651582" y="6414"/>
                    </a:lnTo>
                    <a:lnTo>
                      <a:pt x="697894" y="14274"/>
                    </a:lnTo>
                    <a:lnTo>
                      <a:pt x="743124" y="25098"/>
                    </a:lnTo>
                    <a:lnTo>
                      <a:pt x="787169" y="38780"/>
                    </a:lnTo>
                    <a:lnTo>
                      <a:pt x="829923" y="55215"/>
                    </a:lnTo>
                    <a:lnTo>
                      <a:pt x="871281" y="74299"/>
                    </a:lnTo>
                    <a:lnTo>
                      <a:pt x="911140" y="95927"/>
                    </a:lnTo>
                    <a:lnTo>
                      <a:pt x="949394" y="119994"/>
                    </a:lnTo>
                    <a:lnTo>
                      <a:pt x="985938" y="146397"/>
                    </a:lnTo>
                    <a:lnTo>
                      <a:pt x="1020669" y="175029"/>
                    </a:lnTo>
                    <a:lnTo>
                      <a:pt x="1053480" y="205787"/>
                    </a:lnTo>
                    <a:lnTo>
                      <a:pt x="1084269" y="238566"/>
                    </a:lnTo>
                    <a:lnTo>
                      <a:pt x="1112929" y="273261"/>
                    </a:lnTo>
                    <a:lnTo>
                      <a:pt x="1139356" y="309767"/>
                    </a:lnTo>
                    <a:lnTo>
                      <a:pt x="1163447" y="347980"/>
                    </a:lnTo>
                    <a:lnTo>
                      <a:pt x="1185094" y="387794"/>
                    </a:lnTo>
                    <a:lnTo>
                      <a:pt x="1204196" y="429107"/>
                    </a:lnTo>
                    <a:lnTo>
                      <a:pt x="1220645" y="471812"/>
                    </a:lnTo>
                    <a:lnTo>
                      <a:pt x="1234339" y="515805"/>
                    </a:lnTo>
                    <a:lnTo>
                      <a:pt x="1245172" y="560981"/>
                    </a:lnTo>
                    <a:lnTo>
                      <a:pt x="1253039" y="607236"/>
                    </a:lnTo>
                    <a:lnTo>
                      <a:pt x="1257836" y="654465"/>
                    </a:lnTo>
                    <a:lnTo>
                      <a:pt x="1259459" y="702563"/>
                    </a:lnTo>
                    <a:lnTo>
                      <a:pt x="1257836" y="750662"/>
                    </a:lnTo>
                    <a:lnTo>
                      <a:pt x="1253039" y="797891"/>
                    </a:lnTo>
                    <a:lnTo>
                      <a:pt x="1245172" y="844146"/>
                    </a:lnTo>
                    <a:lnTo>
                      <a:pt x="1234339" y="889322"/>
                    </a:lnTo>
                    <a:lnTo>
                      <a:pt x="1220645" y="933315"/>
                    </a:lnTo>
                    <a:lnTo>
                      <a:pt x="1204196" y="976020"/>
                    </a:lnTo>
                    <a:lnTo>
                      <a:pt x="1185094" y="1017333"/>
                    </a:lnTo>
                    <a:lnTo>
                      <a:pt x="1163447" y="1057147"/>
                    </a:lnTo>
                    <a:lnTo>
                      <a:pt x="1139356" y="1095360"/>
                    </a:lnTo>
                    <a:lnTo>
                      <a:pt x="1112929" y="1131866"/>
                    </a:lnTo>
                    <a:lnTo>
                      <a:pt x="1084269" y="1166561"/>
                    </a:lnTo>
                    <a:lnTo>
                      <a:pt x="1053480" y="1199340"/>
                    </a:lnTo>
                    <a:lnTo>
                      <a:pt x="1020669" y="1230098"/>
                    </a:lnTo>
                    <a:lnTo>
                      <a:pt x="985938" y="1258730"/>
                    </a:lnTo>
                    <a:lnTo>
                      <a:pt x="949394" y="1285133"/>
                    </a:lnTo>
                    <a:lnTo>
                      <a:pt x="911140" y="1309200"/>
                    </a:lnTo>
                    <a:lnTo>
                      <a:pt x="871281" y="1330828"/>
                    </a:lnTo>
                    <a:lnTo>
                      <a:pt x="829923" y="1349912"/>
                    </a:lnTo>
                    <a:lnTo>
                      <a:pt x="787169" y="1366347"/>
                    </a:lnTo>
                    <a:lnTo>
                      <a:pt x="743124" y="1380029"/>
                    </a:lnTo>
                    <a:lnTo>
                      <a:pt x="697894" y="1390853"/>
                    </a:lnTo>
                    <a:lnTo>
                      <a:pt x="651582" y="1398713"/>
                    </a:lnTo>
                    <a:lnTo>
                      <a:pt x="604293" y="1403507"/>
                    </a:lnTo>
                    <a:lnTo>
                      <a:pt x="556132" y="1405128"/>
                    </a:lnTo>
                    <a:lnTo>
                      <a:pt x="506172" y="1403355"/>
                    </a:lnTo>
                    <a:lnTo>
                      <a:pt x="456808" y="1398092"/>
                    </a:lnTo>
                    <a:lnTo>
                      <a:pt x="408205" y="1389418"/>
                    </a:lnTo>
                    <a:lnTo>
                      <a:pt x="360525" y="1377414"/>
                    </a:lnTo>
                    <a:lnTo>
                      <a:pt x="313933" y="1362159"/>
                    </a:lnTo>
                    <a:lnTo>
                      <a:pt x="268593" y="1343733"/>
                    </a:lnTo>
                    <a:lnTo>
                      <a:pt x="224667" y="1322217"/>
                    </a:lnTo>
                    <a:lnTo>
                      <a:pt x="182321" y="1297691"/>
                    </a:lnTo>
                    <a:lnTo>
                      <a:pt x="141717" y="1270235"/>
                    </a:lnTo>
                    <a:lnTo>
                      <a:pt x="103019" y="1239929"/>
                    </a:lnTo>
                    <a:lnTo>
                      <a:pt x="66391" y="1206853"/>
                    </a:lnTo>
                    <a:lnTo>
                      <a:pt x="31997" y="1171088"/>
                    </a:lnTo>
                    <a:lnTo>
                      <a:pt x="0" y="1132713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21" name="object 18">
                <a:extLst>
                  <a:ext uri="{FF2B5EF4-FFF2-40B4-BE49-F238E27FC236}">
                    <a16:creationId xmlns:a16="http://schemas.microsoft.com/office/drawing/2014/main" id="{2E694C48-3DF0-4A46-9977-F06AA8E944B6}"/>
                  </a:ext>
                </a:extLst>
              </p:cNvPr>
              <p:cNvSpPr/>
              <p:nvPr/>
            </p:nvSpPr>
            <p:spPr>
              <a:xfrm>
                <a:off x="3467100" y="1962911"/>
                <a:ext cx="1278890" cy="1277620"/>
              </a:xfrm>
              <a:custGeom>
                <a:avLst/>
                <a:gdLst/>
                <a:ahLst/>
                <a:cxnLst/>
                <a:rect l="l" t="t" r="r" b="b"/>
                <a:pathLst>
                  <a:path w="1278889" h="1277620">
                    <a:moveTo>
                      <a:pt x="639317" y="0"/>
                    </a:moveTo>
                    <a:lnTo>
                      <a:pt x="687027" y="1751"/>
                    </a:lnTo>
                    <a:lnTo>
                      <a:pt x="733785" y="6923"/>
                    </a:lnTo>
                    <a:lnTo>
                      <a:pt x="779468" y="15392"/>
                    </a:lnTo>
                    <a:lnTo>
                      <a:pt x="823952" y="27034"/>
                    </a:lnTo>
                    <a:lnTo>
                      <a:pt x="867112" y="41727"/>
                    </a:lnTo>
                    <a:lnTo>
                      <a:pt x="908827" y="59346"/>
                    </a:lnTo>
                    <a:lnTo>
                      <a:pt x="948971" y="79769"/>
                    </a:lnTo>
                    <a:lnTo>
                      <a:pt x="987422" y="102871"/>
                    </a:lnTo>
                    <a:lnTo>
                      <a:pt x="1024055" y="128530"/>
                    </a:lnTo>
                    <a:lnTo>
                      <a:pt x="1058747" y="156622"/>
                    </a:lnTo>
                    <a:lnTo>
                      <a:pt x="1091374" y="187023"/>
                    </a:lnTo>
                    <a:lnTo>
                      <a:pt x="1121813" y="219610"/>
                    </a:lnTo>
                    <a:lnTo>
                      <a:pt x="1149940" y="254260"/>
                    </a:lnTo>
                    <a:lnTo>
                      <a:pt x="1175631" y="290849"/>
                    </a:lnTo>
                    <a:lnTo>
                      <a:pt x="1198763" y="329253"/>
                    </a:lnTo>
                    <a:lnTo>
                      <a:pt x="1219212" y="369350"/>
                    </a:lnTo>
                    <a:lnTo>
                      <a:pt x="1236854" y="411016"/>
                    </a:lnTo>
                    <a:lnTo>
                      <a:pt x="1251565" y="454127"/>
                    </a:lnTo>
                    <a:lnTo>
                      <a:pt x="1263223" y="498560"/>
                    </a:lnTo>
                    <a:lnTo>
                      <a:pt x="1271703" y="544191"/>
                    </a:lnTo>
                    <a:lnTo>
                      <a:pt x="1276882" y="590898"/>
                    </a:lnTo>
                    <a:lnTo>
                      <a:pt x="1278636" y="638555"/>
                    </a:lnTo>
                    <a:lnTo>
                      <a:pt x="1276882" y="686213"/>
                    </a:lnTo>
                    <a:lnTo>
                      <a:pt x="1271703" y="732920"/>
                    </a:lnTo>
                    <a:lnTo>
                      <a:pt x="1263223" y="778551"/>
                    </a:lnTo>
                    <a:lnTo>
                      <a:pt x="1251565" y="822984"/>
                    </a:lnTo>
                    <a:lnTo>
                      <a:pt x="1236854" y="866095"/>
                    </a:lnTo>
                    <a:lnTo>
                      <a:pt x="1219212" y="907761"/>
                    </a:lnTo>
                    <a:lnTo>
                      <a:pt x="1198763" y="947858"/>
                    </a:lnTo>
                    <a:lnTo>
                      <a:pt x="1175631" y="986262"/>
                    </a:lnTo>
                    <a:lnTo>
                      <a:pt x="1149940" y="1022851"/>
                    </a:lnTo>
                    <a:lnTo>
                      <a:pt x="1121813" y="1057501"/>
                    </a:lnTo>
                    <a:lnTo>
                      <a:pt x="1091374" y="1090088"/>
                    </a:lnTo>
                    <a:lnTo>
                      <a:pt x="1058747" y="1120489"/>
                    </a:lnTo>
                    <a:lnTo>
                      <a:pt x="1024055" y="1148581"/>
                    </a:lnTo>
                    <a:lnTo>
                      <a:pt x="987422" y="1174240"/>
                    </a:lnTo>
                    <a:lnTo>
                      <a:pt x="948971" y="1197342"/>
                    </a:lnTo>
                    <a:lnTo>
                      <a:pt x="908827" y="1217765"/>
                    </a:lnTo>
                    <a:lnTo>
                      <a:pt x="867112" y="1235384"/>
                    </a:lnTo>
                    <a:lnTo>
                      <a:pt x="823952" y="1250077"/>
                    </a:lnTo>
                    <a:lnTo>
                      <a:pt x="779468" y="1261719"/>
                    </a:lnTo>
                    <a:lnTo>
                      <a:pt x="733785" y="1270188"/>
                    </a:lnTo>
                    <a:lnTo>
                      <a:pt x="687027" y="1275360"/>
                    </a:lnTo>
                    <a:lnTo>
                      <a:pt x="639317" y="1277112"/>
                    </a:lnTo>
                    <a:lnTo>
                      <a:pt x="591608" y="1275360"/>
                    </a:lnTo>
                    <a:lnTo>
                      <a:pt x="544850" y="1270188"/>
                    </a:lnTo>
                    <a:lnTo>
                      <a:pt x="499167" y="1261719"/>
                    </a:lnTo>
                    <a:lnTo>
                      <a:pt x="454683" y="1250077"/>
                    </a:lnTo>
                    <a:lnTo>
                      <a:pt x="411523" y="1235384"/>
                    </a:lnTo>
                    <a:lnTo>
                      <a:pt x="369808" y="1217765"/>
                    </a:lnTo>
                    <a:lnTo>
                      <a:pt x="329664" y="1197342"/>
                    </a:lnTo>
                    <a:lnTo>
                      <a:pt x="291213" y="1174240"/>
                    </a:lnTo>
                    <a:lnTo>
                      <a:pt x="254580" y="1148581"/>
                    </a:lnTo>
                    <a:lnTo>
                      <a:pt x="219888" y="1120489"/>
                    </a:lnTo>
                    <a:lnTo>
                      <a:pt x="187261" y="1090088"/>
                    </a:lnTo>
                    <a:lnTo>
                      <a:pt x="156822" y="1057501"/>
                    </a:lnTo>
                    <a:lnTo>
                      <a:pt x="128695" y="1022851"/>
                    </a:lnTo>
                    <a:lnTo>
                      <a:pt x="103004" y="986262"/>
                    </a:lnTo>
                    <a:lnTo>
                      <a:pt x="79872" y="947858"/>
                    </a:lnTo>
                    <a:lnTo>
                      <a:pt x="59423" y="907761"/>
                    </a:lnTo>
                    <a:lnTo>
                      <a:pt x="41781" y="866095"/>
                    </a:lnTo>
                    <a:lnTo>
                      <a:pt x="27070" y="822984"/>
                    </a:lnTo>
                    <a:lnTo>
                      <a:pt x="15412" y="778551"/>
                    </a:lnTo>
                    <a:lnTo>
                      <a:pt x="6932" y="732920"/>
                    </a:lnTo>
                    <a:lnTo>
                      <a:pt x="1753" y="686213"/>
                    </a:lnTo>
                    <a:lnTo>
                      <a:pt x="0" y="638555"/>
                    </a:lnTo>
                    <a:lnTo>
                      <a:pt x="2217" y="585401"/>
                    </a:lnTo>
                    <a:lnTo>
                      <a:pt x="8812" y="532886"/>
                    </a:lnTo>
                    <a:lnTo>
                      <a:pt x="19696" y="481266"/>
                    </a:lnTo>
                    <a:lnTo>
                      <a:pt x="34782" y="430799"/>
                    </a:lnTo>
                    <a:lnTo>
                      <a:pt x="53981" y="381744"/>
                    </a:lnTo>
                    <a:lnTo>
                      <a:pt x="77206" y="334357"/>
                    </a:lnTo>
                    <a:lnTo>
                      <a:pt x="104368" y="288895"/>
                    </a:lnTo>
                    <a:lnTo>
                      <a:pt x="135382" y="245617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22" name="object 19">
                <a:extLst>
                  <a:ext uri="{FF2B5EF4-FFF2-40B4-BE49-F238E27FC236}">
                    <a16:creationId xmlns:a16="http://schemas.microsoft.com/office/drawing/2014/main" id="{72C9EAD0-781C-4C1C-B01D-CC3FA8913DA9}"/>
                  </a:ext>
                </a:extLst>
              </p:cNvPr>
              <p:cNvSpPr/>
              <p:nvPr/>
            </p:nvSpPr>
            <p:spPr>
              <a:xfrm>
                <a:off x="4111752" y="1822704"/>
                <a:ext cx="772795" cy="1082675"/>
              </a:xfrm>
              <a:custGeom>
                <a:avLst/>
                <a:gdLst/>
                <a:ahLst/>
                <a:cxnLst/>
                <a:rect l="l" t="t" r="r" b="b"/>
                <a:pathLst>
                  <a:path w="772795" h="1082675">
                    <a:moveTo>
                      <a:pt x="0" y="0"/>
                    </a:moveTo>
                    <a:lnTo>
                      <a:pt x="48863" y="1521"/>
                    </a:lnTo>
                    <a:lnTo>
                      <a:pt x="96919" y="6026"/>
                    </a:lnTo>
                    <a:lnTo>
                      <a:pt x="144077" y="13424"/>
                    </a:lnTo>
                    <a:lnTo>
                      <a:pt x="190246" y="23624"/>
                    </a:lnTo>
                    <a:lnTo>
                      <a:pt x="235337" y="36535"/>
                    </a:lnTo>
                    <a:lnTo>
                      <a:pt x="279258" y="52067"/>
                    </a:lnTo>
                    <a:lnTo>
                      <a:pt x="321919" y="70128"/>
                    </a:lnTo>
                    <a:lnTo>
                      <a:pt x="363229" y="90629"/>
                    </a:lnTo>
                    <a:lnTo>
                      <a:pt x="403098" y="113479"/>
                    </a:lnTo>
                    <a:lnTo>
                      <a:pt x="441436" y="138587"/>
                    </a:lnTo>
                    <a:lnTo>
                      <a:pt x="478151" y="165862"/>
                    </a:lnTo>
                    <a:lnTo>
                      <a:pt x="513154" y="195214"/>
                    </a:lnTo>
                    <a:lnTo>
                      <a:pt x="546354" y="226552"/>
                    </a:lnTo>
                    <a:lnTo>
                      <a:pt x="577659" y="259785"/>
                    </a:lnTo>
                    <a:lnTo>
                      <a:pt x="606981" y="294823"/>
                    </a:lnTo>
                    <a:lnTo>
                      <a:pt x="634228" y="331575"/>
                    </a:lnTo>
                    <a:lnTo>
                      <a:pt x="659309" y="369951"/>
                    </a:lnTo>
                    <a:lnTo>
                      <a:pt x="682135" y="409859"/>
                    </a:lnTo>
                    <a:lnTo>
                      <a:pt x="702614" y="451210"/>
                    </a:lnTo>
                    <a:lnTo>
                      <a:pt x="720657" y="493912"/>
                    </a:lnTo>
                    <a:lnTo>
                      <a:pt x="736172" y="537875"/>
                    </a:lnTo>
                    <a:lnTo>
                      <a:pt x="749069" y="583008"/>
                    </a:lnTo>
                    <a:lnTo>
                      <a:pt x="759257" y="629221"/>
                    </a:lnTo>
                    <a:lnTo>
                      <a:pt x="766647" y="676422"/>
                    </a:lnTo>
                    <a:lnTo>
                      <a:pt x="771147" y="724522"/>
                    </a:lnTo>
                    <a:lnTo>
                      <a:pt x="772668" y="773430"/>
                    </a:lnTo>
                    <a:lnTo>
                      <a:pt x="770853" y="826453"/>
                    </a:lnTo>
                    <a:lnTo>
                      <a:pt x="765433" y="879103"/>
                    </a:lnTo>
                    <a:lnTo>
                      <a:pt x="756443" y="931195"/>
                    </a:lnTo>
                    <a:lnTo>
                      <a:pt x="743918" y="982547"/>
                    </a:lnTo>
                    <a:lnTo>
                      <a:pt x="727894" y="1032974"/>
                    </a:lnTo>
                    <a:lnTo>
                      <a:pt x="708406" y="1082294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23" name="object 40">
                <a:extLst>
                  <a:ext uri="{FF2B5EF4-FFF2-40B4-BE49-F238E27FC236}">
                    <a16:creationId xmlns:a16="http://schemas.microsoft.com/office/drawing/2014/main" id="{196AC38F-0F1B-4E18-9355-54A99BA6E419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565403" y="0"/>
                    </a:moveTo>
                    <a:lnTo>
                      <a:pt x="516614" y="2075"/>
                    </a:lnTo>
                    <a:lnTo>
                      <a:pt x="468978" y="8187"/>
                    </a:lnTo>
                    <a:lnTo>
                      <a:pt x="422665" y="18167"/>
                    </a:lnTo>
                    <a:lnTo>
                      <a:pt x="377844" y="31845"/>
                    </a:lnTo>
                    <a:lnTo>
                      <a:pt x="334686" y="49051"/>
                    </a:lnTo>
                    <a:lnTo>
                      <a:pt x="293360" y="69615"/>
                    </a:lnTo>
                    <a:lnTo>
                      <a:pt x="254034" y="93369"/>
                    </a:lnTo>
                    <a:lnTo>
                      <a:pt x="216881" y="120142"/>
                    </a:lnTo>
                    <a:lnTo>
                      <a:pt x="182067" y="149765"/>
                    </a:lnTo>
                    <a:lnTo>
                      <a:pt x="149765" y="182067"/>
                    </a:lnTo>
                    <a:lnTo>
                      <a:pt x="120142" y="216881"/>
                    </a:lnTo>
                    <a:lnTo>
                      <a:pt x="93369" y="254034"/>
                    </a:lnTo>
                    <a:lnTo>
                      <a:pt x="69615" y="293360"/>
                    </a:lnTo>
                    <a:lnTo>
                      <a:pt x="49051" y="334686"/>
                    </a:lnTo>
                    <a:lnTo>
                      <a:pt x="31845" y="377844"/>
                    </a:lnTo>
                    <a:lnTo>
                      <a:pt x="18167" y="422665"/>
                    </a:lnTo>
                    <a:lnTo>
                      <a:pt x="8187" y="468978"/>
                    </a:lnTo>
                    <a:lnTo>
                      <a:pt x="2075" y="516614"/>
                    </a:lnTo>
                    <a:lnTo>
                      <a:pt x="0" y="565404"/>
                    </a:lnTo>
                    <a:lnTo>
                      <a:pt x="2075" y="614193"/>
                    </a:lnTo>
                    <a:lnTo>
                      <a:pt x="8187" y="661829"/>
                    </a:lnTo>
                    <a:lnTo>
                      <a:pt x="18167" y="708142"/>
                    </a:lnTo>
                    <a:lnTo>
                      <a:pt x="31845" y="752963"/>
                    </a:lnTo>
                    <a:lnTo>
                      <a:pt x="49051" y="796121"/>
                    </a:lnTo>
                    <a:lnTo>
                      <a:pt x="69615" y="837447"/>
                    </a:lnTo>
                    <a:lnTo>
                      <a:pt x="93369" y="876773"/>
                    </a:lnTo>
                    <a:lnTo>
                      <a:pt x="120142" y="913926"/>
                    </a:lnTo>
                    <a:lnTo>
                      <a:pt x="149765" y="948740"/>
                    </a:lnTo>
                    <a:lnTo>
                      <a:pt x="182067" y="981042"/>
                    </a:lnTo>
                    <a:lnTo>
                      <a:pt x="216881" y="1010665"/>
                    </a:lnTo>
                    <a:lnTo>
                      <a:pt x="254034" y="1037438"/>
                    </a:lnTo>
                    <a:lnTo>
                      <a:pt x="293360" y="1061192"/>
                    </a:lnTo>
                    <a:lnTo>
                      <a:pt x="334686" y="1081756"/>
                    </a:lnTo>
                    <a:lnTo>
                      <a:pt x="377844" y="1098962"/>
                    </a:lnTo>
                    <a:lnTo>
                      <a:pt x="422665" y="1112640"/>
                    </a:lnTo>
                    <a:lnTo>
                      <a:pt x="468978" y="1122620"/>
                    </a:lnTo>
                    <a:lnTo>
                      <a:pt x="516614" y="1128732"/>
                    </a:lnTo>
                    <a:lnTo>
                      <a:pt x="565403" y="1130808"/>
                    </a:lnTo>
                    <a:lnTo>
                      <a:pt x="614193" y="1128732"/>
                    </a:lnTo>
                    <a:lnTo>
                      <a:pt x="661829" y="1122620"/>
                    </a:lnTo>
                    <a:lnTo>
                      <a:pt x="708142" y="1112640"/>
                    </a:lnTo>
                    <a:lnTo>
                      <a:pt x="752963" y="1098962"/>
                    </a:lnTo>
                    <a:lnTo>
                      <a:pt x="796121" y="1081756"/>
                    </a:lnTo>
                    <a:lnTo>
                      <a:pt x="837447" y="1061192"/>
                    </a:lnTo>
                    <a:lnTo>
                      <a:pt x="876773" y="1037438"/>
                    </a:lnTo>
                    <a:lnTo>
                      <a:pt x="913926" y="1010665"/>
                    </a:lnTo>
                    <a:lnTo>
                      <a:pt x="948740" y="981042"/>
                    </a:lnTo>
                    <a:lnTo>
                      <a:pt x="981042" y="948740"/>
                    </a:lnTo>
                    <a:lnTo>
                      <a:pt x="1010665" y="913926"/>
                    </a:lnTo>
                    <a:lnTo>
                      <a:pt x="1037438" y="876773"/>
                    </a:lnTo>
                    <a:lnTo>
                      <a:pt x="1061192" y="837447"/>
                    </a:lnTo>
                    <a:lnTo>
                      <a:pt x="1081756" y="796121"/>
                    </a:lnTo>
                    <a:lnTo>
                      <a:pt x="1098962" y="752963"/>
                    </a:lnTo>
                    <a:lnTo>
                      <a:pt x="1112640" y="708142"/>
                    </a:lnTo>
                    <a:lnTo>
                      <a:pt x="1122620" y="661829"/>
                    </a:lnTo>
                    <a:lnTo>
                      <a:pt x="1128732" y="614193"/>
                    </a:lnTo>
                    <a:lnTo>
                      <a:pt x="1130807" y="565404"/>
                    </a:lnTo>
                    <a:lnTo>
                      <a:pt x="1128732" y="516614"/>
                    </a:lnTo>
                    <a:lnTo>
                      <a:pt x="1122620" y="468978"/>
                    </a:lnTo>
                    <a:lnTo>
                      <a:pt x="1112640" y="422665"/>
                    </a:lnTo>
                    <a:lnTo>
                      <a:pt x="1098962" y="377844"/>
                    </a:lnTo>
                    <a:lnTo>
                      <a:pt x="1081756" y="334686"/>
                    </a:lnTo>
                    <a:lnTo>
                      <a:pt x="1061192" y="293360"/>
                    </a:lnTo>
                    <a:lnTo>
                      <a:pt x="1037438" y="254034"/>
                    </a:lnTo>
                    <a:lnTo>
                      <a:pt x="1010665" y="216881"/>
                    </a:lnTo>
                    <a:lnTo>
                      <a:pt x="981042" y="182067"/>
                    </a:lnTo>
                    <a:lnTo>
                      <a:pt x="948740" y="149765"/>
                    </a:lnTo>
                    <a:lnTo>
                      <a:pt x="913926" y="120142"/>
                    </a:lnTo>
                    <a:lnTo>
                      <a:pt x="876773" y="93369"/>
                    </a:lnTo>
                    <a:lnTo>
                      <a:pt x="837447" y="69615"/>
                    </a:lnTo>
                    <a:lnTo>
                      <a:pt x="796121" y="49051"/>
                    </a:lnTo>
                    <a:lnTo>
                      <a:pt x="752963" y="31845"/>
                    </a:lnTo>
                    <a:lnTo>
                      <a:pt x="708142" y="18167"/>
                    </a:lnTo>
                    <a:lnTo>
                      <a:pt x="661829" y="8187"/>
                    </a:lnTo>
                    <a:lnTo>
                      <a:pt x="614193" y="2075"/>
                    </a:lnTo>
                    <a:lnTo>
                      <a:pt x="565403" y="0"/>
                    </a:lnTo>
                    <a:close/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24" name="object 41">
                <a:extLst>
                  <a:ext uri="{FF2B5EF4-FFF2-40B4-BE49-F238E27FC236}">
                    <a16:creationId xmlns:a16="http://schemas.microsoft.com/office/drawing/2014/main" id="{3E642B1C-BEA1-46A1-B392-7102D5B701E8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0" y="565404"/>
                    </a:moveTo>
                    <a:lnTo>
                      <a:pt x="2075" y="516614"/>
                    </a:lnTo>
                    <a:lnTo>
                      <a:pt x="8187" y="468978"/>
                    </a:lnTo>
                    <a:lnTo>
                      <a:pt x="18167" y="422665"/>
                    </a:lnTo>
                    <a:lnTo>
                      <a:pt x="31845" y="377844"/>
                    </a:lnTo>
                    <a:lnTo>
                      <a:pt x="49051" y="334686"/>
                    </a:lnTo>
                    <a:lnTo>
                      <a:pt x="69615" y="293360"/>
                    </a:lnTo>
                    <a:lnTo>
                      <a:pt x="93369" y="254034"/>
                    </a:lnTo>
                    <a:lnTo>
                      <a:pt x="120142" y="216881"/>
                    </a:lnTo>
                    <a:lnTo>
                      <a:pt x="149765" y="182067"/>
                    </a:lnTo>
                    <a:lnTo>
                      <a:pt x="182067" y="149765"/>
                    </a:lnTo>
                    <a:lnTo>
                      <a:pt x="216881" y="120142"/>
                    </a:lnTo>
                    <a:lnTo>
                      <a:pt x="254034" y="93369"/>
                    </a:lnTo>
                    <a:lnTo>
                      <a:pt x="293360" y="69615"/>
                    </a:lnTo>
                    <a:lnTo>
                      <a:pt x="334686" y="49051"/>
                    </a:lnTo>
                    <a:lnTo>
                      <a:pt x="377844" y="31845"/>
                    </a:lnTo>
                    <a:lnTo>
                      <a:pt x="422665" y="18167"/>
                    </a:lnTo>
                    <a:lnTo>
                      <a:pt x="468978" y="8187"/>
                    </a:lnTo>
                    <a:lnTo>
                      <a:pt x="516614" y="2075"/>
                    </a:lnTo>
                    <a:lnTo>
                      <a:pt x="565403" y="0"/>
                    </a:lnTo>
                    <a:lnTo>
                      <a:pt x="614193" y="2075"/>
                    </a:lnTo>
                    <a:lnTo>
                      <a:pt x="661829" y="8187"/>
                    </a:lnTo>
                    <a:lnTo>
                      <a:pt x="708142" y="18167"/>
                    </a:lnTo>
                    <a:lnTo>
                      <a:pt x="752963" y="31845"/>
                    </a:lnTo>
                    <a:lnTo>
                      <a:pt x="796121" y="49051"/>
                    </a:lnTo>
                    <a:lnTo>
                      <a:pt x="837447" y="69615"/>
                    </a:lnTo>
                    <a:lnTo>
                      <a:pt x="876773" y="93369"/>
                    </a:lnTo>
                    <a:lnTo>
                      <a:pt x="913926" y="120142"/>
                    </a:lnTo>
                    <a:lnTo>
                      <a:pt x="948740" y="149765"/>
                    </a:lnTo>
                    <a:lnTo>
                      <a:pt x="981042" y="182067"/>
                    </a:lnTo>
                    <a:lnTo>
                      <a:pt x="1010665" y="216881"/>
                    </a:lnTo>
                    <a:lnTo>
                      <a:pt x="1037438" y="254034"/>
                    </a:lnTo>
                    <a:lnTo>
                      <a:pt x="1061192" y="293360"/>
                    </a:lnTo>
                    <a:lnTo>
                      <a:pt x="1081756" y="334686"/>
                    </a:lnTo>
                    <a:lnTo>
                      <a:pt x="1098962" y="377844"/>
                    </a:lnTo>
                    <a:lnTo>
                      <a:pt x="1112640" y="422665"/>
                    </a:lnTo>
                    <a:lnTo>
                      <a:pt x="1122620" y="468978"/>
                    </a:lnTo>
                    <a:lnTo>
                      <a:pt x="1128732" y="516614"/>
                    </a:lnTo>
                    <a:lnTo>
                      <a:pt x="1130807" y="565404"/>
                    </a:lnTo>
                    <a:lnTo>
                      <a:pt x="1128732" y="614193"/>
                    </a:lnTo>
                    <a:lnTo>
                      <a:pt x="1122620" y="661829"/>
                    </a:lnTo>
                    <a:lnTo>
                      <a:pt x="1112640" y="708142"/>
                    </a:lnTo>
                    <a:lnTo>
                      <a:pt x="1098962" y="752963"/>
                    </a:lnTo>
                    <a:lnTo>
                      <a:pt x="1081756" y="796121"/>
                    </a:lnTo>
                    <a:lnTo>
                      <a:pt x="1061192" y="837447"/>
                    </a:lnTo>
                    <a:lnTo>
                      <a:pt x="1037438" y="876773"/>
                    </a:lnTo>
                    <a:lnTo>
                      <a:pt x="1010665" y="913926"/>
                    </a:lnTo>
                    <a:lnTo>
                      <a:pt x="981042" y="948740"/>
                    </a:lnTo>
                    <a:lnTo>
                      <a:pt x="948740" y="981042"/>
                    </a:lnTo>
                    <a:lnTo>
                      <a:pt x="913926" y="1010665"/>
                    </a:lnTo>
                    <a:lnTo>
                      <a:pt x="876773" y="1037438"/>
                    </a:lnTo>
                    <a:lnTo>
                      <a:pt x="837447" y="1061192"/>
                    </a:lnTo>
                    <a:lnTo>
                      <a:pt x="796121" y="1081756"/>
                    </a:lnTo>
                    <a:lnTo>
                      <a:pt x="752963" y="1098962"/>
                    </a:lnTo>
                    <a:lnTo>
                      <a:pt x="708142" y="1112640"/>
                    </a:lnTo>
                    <a:lnTo>
                      <a:pt x="661829" y="1122620"/>
                    </a:lnTo>
                    <a:lnTo>
                      <a:pt x="614193" y="1128732"/>
                    </a:lnTo>
                    <a:lnTo>
                      <a:pt x="565403" y="1130808"/>
                    </a:lnTo>
                    <a:lnTo>
                      <a:pt x="516614" y="1128732"/>
                    </a:lnTo>
                    <a:lnTo>
                      <a:pt x="468978" y="1122620"/>
                    </a:lnTo>
                    <a:lnTo>
                      <a:pt x="422665" y="1112640"/>
                    </a:lnTo>
                    <a:lnTo>
                      <a:pt x="377844" y="1098962"/>
                    </a:lnTo>
                    <a:lnTo>
                      <a:pt x="334686" y="1081756"/>
                    </a:lnTo>
                    <a:lnTo>
                      <a:pt x="293360" y="1061192"/>
                    </a:lnTo>
                    <a:lnTo>
                      <a:pt x="254034" y="1037438"/>
                    </a:lnTo>
                    <a:lnTo>
                      <a:pt x="216881" y="1010665"/>
                    </a:lnTo>
                    <a:lnTo>
                      <a:pt x="182067" y="981042"/>
                    </a:lnTo>
                    <a:lnTo>
                      <a:pt x="149765" y="948740"/>
                    </a:lnTo>
                    <a:lnTo>
                      <a:pt x="120142" y="913926"/>
                    </a:lnTo>
                    <a:lnTo>
                      <a:pt x="93369" y="876773"/>
                    </a:lnTo>
                    <a:lnTo>
                      <a:pt x="69615" y="837447"/>
                    </a:lnTo>
                    <a:lnTo>
                      <a:pt x="49051" y="796121"/>
                    </a:lnTo>
                    <a:lnTo>
                      <a:pt x="31845" y="752963"/>
                    </a:lnTo>
                    <a:lnTo>
                      <a:pt x="18167" y="708142"/>
                    </a:lnTo>
                    <a:lnTo>
                      <a:pt x="8187" y="661829"/>
                    </a:lnTo>
                    <a:lnTo>
                      <a:pt x="2075" y="614193"/>
                    </a:lnTo>
                    <a:lnTo>
                      <a:pt x="0" y="565404"/>
                    </a:lnTo>
                    <a:close/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1350">
                  <a:solidFill>
                    <a:srgbClr val="5C5C5C"/>
                  </a:solidFill>
                  <a:latin typeface="Open Sans"/>
                </a:endParaRPr>
              </a:p>
            </p:txBody>
          </p:sp>
        </p:grpSp>
        <p:grpSp>
          <p:nvGrpSpPr>
            <p:cNvPr id="125" name="Group 187">
              <a:extLst>
                <a:ext uri="{FF2B5EF4-FFF2-40B4-BE49-F238E27FC236}">
                  <a16:creationId xmlns:a16="http://schemas.microsoft.com/office/drawing/2014/main" id="{21C1098A-E777-48C1-9176-8B57C9307E92}"/>
                </a:ext>
              </a:extLst>
            </p:cNvPr>
            <p:cNvGrpSpPr/>
            <p:nvPr/>
          </p:nvGrpSpPr>
          <p:grpSpPr>
            <a:xfrm>
              <a:off x="2740033" y="5870113"/>
              <a:ext cx="432386" cy="499954"/>
              <a:chOff x="9578231" y="1812473"/>
              <a:chExt cx="553473" cy="636069"/>
            </a:xfrm>
          </p:grpSpPr>
          <p:sp>
            <p:nvSpPr>
              <p:cNvPr id="126" name="object 40">
                <a:extLst>
                  <a:ext uri="{FF2B5EF4-FFF2-40B4-BE49-F238E27FC236}">
                    <a16:creationId xmlns:a16="http://schemas.microsoft.com/office/drawing/2014/main" id="{06583789-7A39-4695-934C-DC1A2BBB7F57}"/>
                  </a:ext>
                </a:extLst>
              </p:cNvPr>
              <p:cNvSpPr/>
              <p:nvPr/>
            </p:nvSpPr>
            <p:spPr>
              <a:xfrm>
                <a:off x="9578231" y="1812473"/>
                <a:ext cx="553473" cy="636069"/>
              </a:xfrm>
              <a:prstGeom prst="rect">
                <a:avLst/>
              </a:prstGeom>
              <a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defTabSz="685800">
                  <a:defRPr/>
                </a:pPr>
                <a:endParaRPr sz="1350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127" name="Freeform 594">
                <a:extLst>
                  <a:ext uri="{FF2B5EF4-FFF2-40B4-BE49-F238E27FC236}">
                    <a16:creationId xmlns:a16="http://schemas.microsoft.com/office/drawing/2014/main" id="{D4680135-8D7F-4902-A7B1-5BC08FCBA0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71212" y="1973007"/>
                <a:ext cx="168371" cy="144680"/>
              </a:xfrm>
              <a:custGeom>
                <a:avLst/>
                <a:gdLst>
                  <a:gd name="T0" fmla="*/ 292 w 299"/>
                  <a:gd name="T1" fmla="*/ 22 h 257"/>
                  <a:gd name="T2" fmla="*/ 150 w 299"/>
                  <a:gd name="T3" fmla="*/ 21 h 257"/>
                  <a:gd name="T4" fmla="*/ 8 w 299"/>
                  <a:gd name="T5" fmla="*/ 22 h 257"/>
                  <a:gd name="T6" fmla="*/ 0 w 299"/>
                  <a:gd name="T7" fmla="*/ 32 h 257"/>
                  <a:gd name="T8" fmla="*/ 0 w 299"/>
                  <a:gd name="T9" fmla="*/ 245 h 257"/>
                  <a:gd name="T10" fmla="*/ 5 w 299"/>
                  <a:gd name="T11" fmla="*/ 254 h 257"/>
                  <a:gd name="T12" fmla="*/ 15 w 299"/>
                  <a:gd name="T13" fmla="*/ 255 h 257"/>
                  <a:gd name="T14" fmla="*/ 147 w 299"/>
                  <a:gd name="T15" fmla="*/ 256 h 257"/>
                  <a:gd name="T16" fmla="*/ 150 w 299"/>
                  <a:gd name="T17" fmla="*/ 256 h 257"/>
                  <a:gd name="T18" fmla="*/ 154 w 299"/>
                  <a:gd name="T19" fmla="*/ 255 h 257"/>
                  <a:gd name="T20" fmla="*/ 154 w 299"/>
                  <a:gd name="T21" fmla="*/ 255 h 257"/>
                  <a:gd name="T22" fmla="*/ 285 w 299"/>
                  <a:gd name="T23" fmla="*/ 256 h 257"/>
                  <a:gd name="T24" fmla="*/ 295 w 299"/>
                  <a:gd name="T25" fmla="*/ 254 h 257"/>
                  <a:gd name="T26" fmla="*/ 299 w 299"/>
                  <a:gd name="T27" fmla="*/ 245 h 257"/>
                  <a:gd name="T28" fmla="*/ 299 w 299"/>
                  <a:gd name="T29" fmla="*/ 32 h 257"/>
                  <a:gd name="T30" fmla="*/ 292 w 299"/>
                  <a:gd name="T31" fmla="*/ 22 h 257"/>
                  <a:gd name="T32" fmla="*/ 22 w 299"/>
                  <a:gd name="T33" fmla="*/ 231 h 257"/>
                  <a:gd name="T34" fmla="*/ 22 w 299"/>
                  <a:gd name="T35" fmla="*/ 40 h 257"/>
                  <a:gd name="T36" fmla="*/ 139 w 299"/>
                  <a:gd name="T37" fmla="*/ 40 h 257"/>
                  <a:gd name="T38" fmla="*/ 139 w 299"/>
                  <a:gd name="T39" fmla="*/ 232 h 257"/>
                  <a:gd name="T40" fmla="*/ 22 w 299"/>
                  <a:gd name="T41" fmla="*/ 231 h 257"/>
                  <a:gd name="T42" fmla="*/ 278 w 299"/>
                  <a:gd name="T43" fmla="*/ 232 h 257"/>
                  <a:gd name="T44" fmla="*/ 160 w 299"/>
                  <a:gd name="T45" fmla="*/ 231 h 257"/>
                  <a:gd name="T46" fmla="*/ 160 w 299"/>
                  <a:gd name="T47" fmla="*/ 40 h 257"/>
                  <a:gd name="T48" fmla="*/ 278 w 299"/>
                  <a:gd name="T49" fmla="*/ 40 h 257"/>
                  <a:gd name="T50" fmla="*/ 278 w 299"/>
                  <a:gd name="T51" fmla="*/ 232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99" h="257">
                    <a:moveTo>
                      <a:pt x="292" y="22"/>
                    </a:moveTo>
                    <a:cubicBezTo>
                      <a:pt x="289" y="21"/>
                      <a:pt x="228" y="0"/>
                      <a:pt x="150" y="21"/>
                    </a:cubicBezTo>
                    <a:cubicBezTo>
                      <a:pt x="137" y="16"/>
                      <a:pt x="85" y="3"/>
                      <a:pt x="8" y="22"/>
                    </a:cubicBezTo>
                    <a:cubicBezTo>
                      <a:pt x="4" y="23"/>
                      <a:pt x="0" y="27"/>
                      <a:pt x="0" y="32"/>
                    </a:cubicBezTo>
                    <a:cubicBezTo>
                      <a:pt x="0" y="245"/>
                      <a:pt x="0" y="245"/>
                      <a:pt x="0" y="245"/>
                    </a:cubicBezTo>
                    <a:cubicBezTo>
                      <a:pt x="0" y="249"/>
                      <a:pt x="2" y="252"/>
                      <a:pt x="5" y="254"/>
                    </a:cubicBezTo>
                    <a:cubicBezTo>
                      <a:pt x="8" y="256"/>
                      <a:pt x="12" y="257"/>
                      <a:pt x="15" y="255"/>
                    </a:cubicBezTo>
                    <a:cubicBezTo>
                      <a:pt x="16" y="255"/>
                      <a:pt x="72" y="233"/>
                      <a:pt x="147" y="256"/>
                    </a:cubicBezTo>
                    <a:cubicBezTo>
                      <a:pt x="148" y="256"/>
                      <a:pt x="149" y="256"/>
                      <a:pt x="150" y="256"/>
                    </a:cubicBezTo>
                    <a:cubicBezTo>
                      <a:pt x="151" y="256"/>
                      <a:pt x="153" y="256"/>
                      <a:pt x="154" y="255"/>
                    </a:cubicBezTo>
                    <a:cubicBezTo>
                      <a:pt x="154" y="255"/>
                      <a:pt x="154" y="255"/>
                      <a:pt x="154" y="255"/>
                    </a:cubicBezTo>
                    <a:cubicBezTo>
                      <a:pt x="155" y="255"/>
                      <a:pt x="205" y="233"/>
                      <a:pt x="285" y="256"/>
                    </a:cubicBezTo>
                    <a:cubicBezTo>
                      <a:pt x="289" y="256"/>
                      <a:pt x="292" y="256"/>
                      <a:pt x="295" y="254"/>
                    </a:cubicBezTo>
                    <a:cubicBezTo>
                      <a:pt x="297" y="252"/>
                      <a:pt x="299" y="249"/>
                      <a:pt x="299" y="245"/>
                    </a:cubicBezTo>
                    <a:cubicBezTo>
                      <a:pt x="299" y="32"/>
                      <a:pt x="299" y="32"/>
                      <a:pt x="299" y="32"/>
                    </a:cubicBezTo>
                    <a:cubicBezTo>
                      <a:pt x="299" y="27"/>
                      <a:pt x="296" y="23"/>
                      <a:pt x="292" y="22"/>
                    </a:cubicBezTo>
                    <a:close/>
                    <a:moveTo>
                      <a:pt x="22" y="231"/>
                    </a:moveTo>
                    <a:cubicBezTo>
                      <a:pt x="22" y="40"/>
                      <a:pt x="22" y="40"/>
                      <a:pt x="22" y="40"/>
                    </a:cubicBezTo>
                    <a:cubicBezTo>
                      <a:pt x="81" y="27"/>
                      <a:pt x="123" y="36"/>
                      <a:pt x="139" y="40"/>
                    </a:cubicBezTo>
                    <a:cubicBezTo>
                      <a:pt x="139" y="232"/>
                      <a:pt x="139" y="232"/>
                      <a:pt x="139" y="232"/>
                    </a:cubicBezTo>
                    <a:cubicBezTo>
                      <a:pt x="86" y="219"/>
                      <a:pt x="43" y="225"/>
                      <a:pt x="22" y="231"/>
                    </a:cubicBezTo>
                    <a:close/>
                    <a:moveTo>
                      <a:pt x="278" y="232"/>
                    </a:moveTo>
                    <a:cubicBezTo>
                      <a:pt x="222" y="218"/>
                      <a:pt x="181" y="225"/>
                      <a:pt x="160" y="231"/>
                    </a:cubicBezTo>
                    <a:cubicBezTo>
                      <a:pt x="160" y="40"/>
                      <a:pt x="160" y="40"/>
                      <a:pt x="160" y="40"/>
                    </a:cubicBezTo>
                    <a:cubicBezTo>
                      <a:pt x="215" y="27"/>
                      <a:pt x="261" y="36"/>
                      <a:pt x="278" y="40"/>
                    </a:cubicBezTo>
                    <a:lnTo>
                      <a:pt x="278" y="23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mc="http://schemas.openxmlformats.org/markup-compatibility/2006" xmlns:p14="http://schemas.microsoft.com/office/powerpoint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085" tIns="45542" rIns="91085" bIns="45542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GB" sz="23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72" name="object 56">
              <a:extLst>
                <a:ext uri="{FF2B5EF4-FFF2-40B4-BE49-F238E27FC236}">
                  <a16:creationId xmlns:a16="http://schemas.microsoft.com/office/drawing/2014/main" id="{22E169DE-47A2-4901-8A2C-DD07EF9C79CC}"/>
                </a:ext>
              </a:extLst>
            </p:cNvPr>
            <p:cNvSpPr txBox="1"/>
            <p:nvPr/>
          </p:nvSpPr>
          <p:spPr>
            <a:xfrm>
              <a:off x="2504971" y="6652581"/>
              <a:ext cx="914233" cy="258404"/>
            </a:xfrm>
            <a:prstGeom prst="rect">
              <a:avLst/>
            </a:prstGeom>
          </p:spPr>
          <p:txBody>
            <a:bodyPr vert="horz" wrap="square" lIns="0" tIns="9049" rIns="0" bIns="0" rtlCol="0">
              <a:spAutoFit/>
            </a:bodyPr>
            <a:lstStyle/>
            <a:p>
              <a:pPr algn="ctr" defTabSz="685800">
                <a:spcBef>
                  <a:spcPts val="71"/>
                </a:spcBef>
                <a:defRPr/>
              </a:pPr>
              <a:r>
                <a:rPr lang="nb-NO" sz="600" spc="-8">
                  <a:solidFill>
                    <a:srgbClr val="000000"/>
                  </a:solidFill>
                  <a:latin typeface="Poppins" panose="00000800000000000000" charset="0"/>
                  <a:cs typeface="Poppins" panose="00000800000000000000" charset="0"/>
                </a:rPr>
                <a:t>Faktura bokføres av DFØ</a:t>
              </a:r>
              <a:endParaRPr lang="nb-NO" sz="600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01E599E-C3CE-426C-9D4F-1F658D99D88C}"/>
              </a:ext>
            </a:extLst>
          </p:cNvPr>
          <p:cNvGrpSpPr/>
          <p:nvPr/>
        </p:nvGrpSpPr>
        <p:grpSpPr>
          <a:xfrm>
            <a:off x="3285391" y="1383954"/>
            <a:ext cx="933803" cy="1131491"/>
            <a:chOff x="2141108" y="1682998"/>
            <a:chExt cx="1399885" cy="1696243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91113C67-5A6D-42E1-A1C9-80CAD6752EA7}"/>
                </a:ext>
              </a:extLst>
            </p:cNvPr>
            <p:cNvGrpSpPr/>
            <p:nvPr/>
          </p:nvGrpSpPr>
          <p:grpSpPr>
            <a:xfrm>
              <a:off x="2320780" y="1682998"/>
              <a:ext cx="1171444" cy="1224343"/>
              <a:chOff x="3467100" y="1822704"/>
              <a:chExt cx="1417447" cy="1481455"/>
            </a:xfrm>
          </p:grpSpPr>
          <p:sp>
            <p:nvSpPr>
              <p:cNvPr id="144" name="object 17">
                <a:extLst>
                  <a:ext uri="{FF2B5EF4-FFF2-40B4-BE49-F238E27FC236}">
                    <a16:creationId xmlns:a16="http://schemas.microsoft.com/office/drawing/2014/main" id="{C32E16C1-CA60-4FCC-B71E-B1CA4A46DA98}"/>
                  </a:ext>
                </a:extLst>
              </p:cNvPr>
              <p:cNvSpPr/>
              <p:nvPr/>
            </p:nvSpPr>
            <p:spPr>
              <a:xfrm>
                <a:off x="3550284" y="1898904"/>
                <a:ext cx="1259840" cy="1405255"/>
              </a:xfrm>
              <a:custGeom>
                <a:avLst/>
                <a:gdLst/>
                <a:ahLst/>
                <a:cxnLst/>
                <a:rect l="l" t="t" r="r" b="b"/>
                <a:pathLst>
                  <a:path w="1259839" h="1405254">
                    <a:moveTo>
                      <a:pt x="556132" y="0"/>
                    </a:moveTo>
                    <a:lnTo>
                      <a:pt x="604293" y="1620"/>
                    </a:lnTo>
                    <a:lnTo>
                      <a:pt x="651582" y="6414"/>
                    </a:lnTo>
                    <a:lnTo>
                      <a:pt x="697894" y="14274"/>
                    </a:lnTo>
                    <a:lnTo>
                      <a:pt x="743124" y="25098"/>
                    </a:lnTo>
                    <a:lnTo>
                      <a:pt x="787169" y="38780"/>
                    </a:lnTo>
                    <a:lnTo>
                      <a:pt x="829923" y="55215"/>
                    </a:lnTo>
                    <a:lnTo>
                      <a:pt x="871281" y="74299"/>
                    </a:lnTo>
                    <a:lnTo>
                      <a:pt x="911140" y="95927"/>
                    </a:lnTo>
                    <a:lnTo>
                      <a:pt x="949394" y="119994"/>
                    </a:lnTo>
                    <a:lnTo>
                      <a:pt x="985938" y="146397"/>
                    </a:lnTo>
                    <a:lnTo>
                      <a:pt x="1020669" y="175029"/>
                    </a:lnTo>
                    <a:lnTo>
                      <a:pt x="1053480" y="205787"/>
                    </a:lnTo>
                    <a:lnTo>
                      <a:pt x="1084269" y="238566"/>
                    </a:lnTo>
                    <a:lnTo>
                      <a:pt x="1112929" y="273261"/>
                    </a:lnTo>
                    <a:lnTo>
                      <a:pt x="1139356" y="309767"/>
                    </a:lnTo>
                    <a:lnTo>
                      <a:pt x="1163447" y="347980"/>
                    </a:lnTo>
                    <a:lnTo>
                      <a:pt x="1185094" y="387794"/>
                    </a:lnTo>
                    <a:lnTo>
                      <a:pt x="1204196" y="429107"/>
                    </a:lnTo>
                    <a:lnTo>
                      <a:pt x="1220645" y="471812"/>
                    </a:lnTo>
                    <a:lnTo>
                      <a:pt x="1234339" y="515805"/>
                    </a:lnTo>
                    <a:lnTo>
                      <a:pt x="1245172" y="560981"/>
                    </a:lnTo>
                    <a:lnTo>
                      <a:pt x="1253039" y="607236"/>
                    </a:lnTo>
                    <a:lnTo>
                      <a:pt x="1257836" y="654465"/>
                    </a:lnTo>
                    <a:lnTo>
                      <a:pt x="1259459" y="702563"/>
                    </a:lnTo>
                    <a:lnTo>
                      <a:pt x="1257836" y="750662"/>
                    </a:lnTo>
                    <a:lnTo>
                      <a:pt x="1253039" y="797891"/>
                    </a:lnTo>
                    <a:lnTo>
                      <a:pt x="1245172" y="844146"/>
                    </a:lnTo>
                    <a:lnTo>
                      <a:pt x="1234339" y="889322"/>
                    </a:lnTo>
                    <a:lnTo>
                      <a:pt x="1220645" y="933315"/>
                    </a:lnTo>
                    <a:lnTo>
                      <a:pt x="1204196" y="976020"/>
                    </a:lnTo>
                    <a:lnTo>
                      <a:pt x="1185094" y="1017333"/>
                    </a:lnTo>
                    <a:lnTo>
                      <a:pt x="1163447" y="1057147"/>
                    </a:lnTo>
                    <a:lnTo>
                      <a:pt x="1139356" y="1095360"/>
                    </a:lnTo>
                    <a:lnTo>
                      <a:pt x="1112929" y="1131866"/>
                    </a:lnTo>
                    <a:lnTo>
                      <a:pt x="1084269" y="1166561"/>
                    </a:lnTo>
                    <a:lnTo>
                      <a:pt x="1053480" y="1199340"/>
                    </a:lnTo>
                    <a:lnTo>
                      <a:pt x="1020669" y="1230098"/>
                    </a:lnTo>
                    <a:lnTo>
                      <a:pt x="985938" y="1258730"/>
                    </a:lnTo>
                    <a:lnTo>
                      <a:pt x="949394" y="1285133"/>
                    </a:lnTo>
                    <a:lnTo>
                      <a:pt x="911140" y="1309200"/>
                    </a:lnTo>
                    <a:lnTo>
                      <a:pt x="871281" y="1330828"/>
                    </a:lnTo>
                    <a:lnTo>
                      <a:pt x="829923" y="1349912"/>
                    </a:lnTo>
                    <a:lnTo>
                      <a:pt x="787169" y="1366347"/>
                    </a:lnTo>
                    <a:lnTo>
                      <a:pt x="743124" y="1380029"/>
                    </a:lnTo>
                    <a:lnTo>
                      <a:pt x="697894" y="1390853"/>
                    </a:lnTo>
                    <a:lnTo>
                      <a:pt x="651582" y="1398713"/>
                    </a:lnTo>
                    <a:lnTo>
                      <a:pt x="604293" y="1403507"/>
                    </a:lnTo>
                    <a:lnTo>
                      <a:pt x="556132" y="1405128"/>
                    </a:lnTo>
                    <a:lnTo>
                      <a:pt x="506172" y="1403355"/>
                    </a:lnTo>
                    <a:lnTo>
                      <a:pt x="456808" y="1398092"/>
                    </a:lnTo>
                    <a:lnTo>
                      <a:pt x="408205" y="1389418"/>
                    </a:lnTo>
                    <a:lnTo>
                      <a:pt x="360525" y="1377414"/>
                    </a:lnTo>
                    <a:lnTo>
                      <a:pt x="313933" y="1362159"/>
                    </a:lnTo>
                    <a:lnTo>
                      <a:pt x="268593" y="1343733"/>
                    </a:lnTo>
                    <a:lnTo>
                      <a:pt x="224667" y="1322217"/>
                    </a:lnTo>
                    <a:lnTo>
                      <a:pt x="182321" y="1297691"/>
                    </a:lnTo>
                    <a:lnTo>
                      <a:pt x="141717" y="1270235"/>
                    </a:lnTo>
                    <a:lnTo>
                      <a:pt x="103019" y="1239929"/>
                    </a:lnTo>
                    <a:lnTo>
                      <a:pt x="66391" y="1206853"/>
                    </a:lnTo>
                    <a:lnTo>
                      <a:pt x="31997" y="1171088"/>
                    </a:lnTo>
                    <a:lnTo>
                      <a:pt x="0" y="1132713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45" name="object 18">
                <a:extLst>
                  <a:ext uri="{FF2B5EF4-FFF2-40B4-BE49-F238E27FC236}">
                    <a16:creationId xmlns:a16="http://schemas.microsoft.com/office/drawing/2014/main" id="{A9B175FB-4FA3-4295-A9A7-A9481D86FCD7}"/>
                  </a:ext>
                </a:extLst>
              </p:cNvPr>
              <p:cNvSpPr/>
              <p:nvPr/>
            </p:nvSpPr>
            <p:spPr>
              <a:xfrm>
                <a:off x="3467100" y="1962911"/>
                <a:ext cx="1278890" cy="1277620"/>
              </a:xfrm>
              <a:custGeom>
                <a:avLst/>
                <a:gdLst/>
                <a:ahLst/>
                <a:cxnLst/>
                <a:rect l="l" t="t" r="r" b="b"/>
                <a:pathLst>
                  <a:path w="1278889" h="1277620">
                    <a:moveTo>
                      <a:pt x="639317" y="0"/>
                    </a:moveTo>
                    <a:lnTo>
                      <a:pt x="687027" y="1751"/>
                    </a:lnTo>
                    <a:lnTo>
                      <a:pt x="733785" y="6923"/>
                    </a:lnTo>
                    <a:lnTo>
                      <a:pt x="779468" y="15392"/>
                    </a:lnTo>
                    <a:lnTo>
                      <a:pt x="823952" y="27034"/>
                    </a:lnTo>
                    <a:lnTo>
                      <a:pt x="867112" y="41727"/>
                    </a:lnTo>
                    <a:lnTo>
                      <a:pt x="908827" y="59346"/>
                    </a:lnTo>
                    <a:lnTo>
                      <a:pt x="948971" y="79769"/>
                    </a:lnTo>
                    <a:lnTo>
                      <a:pt x="987422" y="102871"/>
                    </a:lnTo>
                    <a:lnTo>
                      <a:pt x="1024055" y="128530"/>
                    </a:lnTo>
                    <a:lnTo>
                      <a:pt x="1058747" y="156622"/>
                    </a:lnTo>
                    <a:lnTo>
                      <a:pt x="1091374" y="187023"/>
                    </a:lnTo>
                    <a:lnTo>
                      <a:pt x="1121813" y="219610"/>
                    </a:lnTo>
                    <a:lnTo>
                      <a:pt x="1149940" y="254260"/>
                    </a:lnTo>
                    <a:lnTo>
                      <a:pt x="1175631" y="290849"/>
                    </a:lnTo>
                    <a:lnTo>
                      <a:pt x="1198763" y="329253"/>
                    </a:lnTo>
                    <a:lnTo>
                      <a:pt x="1219212" y="369350"/>
                    </a:lnTo>
                    <a:lnTo>
                      <a:pt x="1236854" y="411016"/>
                    </a:lnTo>
                    <a:lnTo>
                      <a:pt x="1251565" y="454127"/>
                    </a:lnTo>
                    <a:lnTo>
                      <a:pt x="1263223" y="498560"/>
                    </a:lnTo>
                    <a:lnTo>
                      <a:pt x="1271703" y="544191"/>
                    </a:lnTo>
                    <a:lnTo>
                      <a:pt x="1276882" y="590898"/>
                    </a:lnTo>
                    <a:lnTo>
                      <a:pt x="1278636" y="638555"/>
                    </a:lnTo>
                    <a:lnTo>
                      <a:pt x="1276882" y="686213"/>
                    </a:lnTo>
                    <a:lnTo>
                      <a:pt x="1271703" y="732920"/>
                    </a:lnTo>
                    <a:lnTo>
                      <a:pt x="1263223" y="778551"/>
                    </a:lnTo>
                    <a:lnTo>
                      <a:pt x="1251565" y="822984"/>
                    </a:lnTo>
                    <a:lnTo>
                      <a:pt x="1236854" y="866095"/>
                    </a:lnTo>
                    <a:lnTo>
                      <a:pt x="1219212" y="907761"/>
                    </a:lnTo>
                    <a:lnTo>
                      <a:pt x="1198763" y="947858"/>
                    </a:lnTo>
                    <a:lnTo>
                      <a:pt x="1175631" y="986262"/>
                    </a:lnTo>
                    <a:lnTo>
                      <a:pt x="1149940" y="1022851"/>
                    </a:lnTo>
                    <a:lnTo>
                      <a:pt x="1121813" y="1057501"/>
                    </a:lnTo>
                    <a:lnTo>
                      <a:pt x="1091374" y="1090088"/>
                    </a:lnTo>
                    <a:lnTo>
                      <a:pt x="1058747" y="1120489"/>
                    </a:lnTo>
                    <a:lnTo>
                      <a:pt x="1024055" y="1148581"/>
                    </a:lnTo>
                    <a:lnTo>
                      <a:pt x="987422" y="1174240"/>
                    </a:lnTo>
                    <a:lnTo>
                      <a:pt x="948971" y="1197342"/>
                    </a:lnTo>
                    <a:lnTo>
                      <a:pt x="908827" y="1217765"/>
                    </a:lnTo>
                    <a:lnTo>
                      <a:pt x="867112" y="1235384"/>
                    </a:lnTo>
                    <a:lnTo>
                      <a:pt x="823952" y="1250077"/>
                    </a:lnTo>
                    <a:lnTo>
                      <a:pt x="779468" y="1261719"/>
                    </a:lnTo>
                    <a:lnTo>
                      <a:pt x="733785" y="1270188"/>
                    </a:lnTo>
                    <a:lnTo>
                      <a:pt x="687027" y="1275360"/>
                    </a:lnTo>
                    <a:lnTo>
                      <a:pt x="639317" y="1277112"/>
                    </a:lnTo>
                    <a:lnTo>
                      <a:pt x="591608" y="1275360"/>
                    </a:lnTo>
                    <a:lnTo>
                      <a:pt x="544850" y="1270188"/>
                    </a:lnTo>
                    <a:lnTo>
                      <a:pt x="499167" y="1261719"/>
                    </a:lnTo>
                    <a:lnTo>
                      <a:pt x="454683" y="1250077"/>
                    </a:lnTo>
                    <a:lnTo>
                      <a:pt x="411523" y="1235384"/>
                    </a:lnTo>
                    <a:lnTo>
                      <a:pt x="369808" y="1217765"/>
                    </a:lnTo>
                    <a:lnTo>
                      <a:pt x="329664" y="1197342"/>
                    </a:lnTo>
                    <a:lnTo>
                      <a:pt x="291213" y="1174240"/>
                    </a:lnTo>
                    <a:lnTo>
                      <a:pt x="254580" y="1148581"/>
                    </a:lnTo>
                    <a:lnTo>
                      <a:pt x="219888" y="1120489"/>
                    </a:lnTo>
                    <a:lnTo>
                      <a:pt x="187261" y="1090088"/>
                    </a:lnTo>
                    <a:lnTo>
                      <a:pt x="156822" y="1057501"/>
                    </a:lnTo>
                    <a:lnTo>
                      <a:pt x="128695" y="1022851"/>
                    </a:lnTo>
                    <a:lnTo>
                      <a:pt x="103004" y="986262"/>
                    </a:lnTo>
                    <a:lnTo>
                      <a:pt x="79872" y="947858"/>
                    </a:lnTo>
                    <a:lnTo>
                      <a:pt x="59423" y="907761"/>
                    </a:lnTo>
                    <a:lnTo>
                      <a:pt x="41781" y="866095"/>
                    </a:lnTo>
                    <a:lnTo>
                      <a:pt x="27070" y="822984"/>
                    </a:lnTo>
                    <a:lnTo>
                      <a:pt x="15412" y="778551"/>
                    </a:lnTo>
                    <a:lnTo>
                      <a:pt x="6932" y="732920"/>
                    </a:lnTo>
                    <a:lnTo>
                      <a:pt x="1753" y="686213"/>
                    </a:lnTo>
                    <a:lnTo>
                      <a:pt x="0" y="638555"/>
                    </a:lnTo>
                    <a:lnTo>
                      <a:pt x="2217" y="585401"/>
                    </a:lnTo>
                    <a:lnTo>
                      <a:pt x="8812" y="532886"/>
                    </a:lnTo>
                    <a:lnTo>
                      <a:pt x="19696" y="481266"/>
                    </a:lnTo>
                    <a:lnTo>
                      <a:pt x="34782" y="430799"/>
                    </a:lnTo>
                    <a:lnTo>
                      <a:pt x="53981" y="381744"/>
                    </a:lnTo>
                    <a:lnTo>
                      <a:pt x="77206" y="334357"/>
                    </a:lnTo>
                    <a:lnTo>
                      <a:pt x="104368" y="288895"/>
                    </a:lnTo>
                    <a:lnTo>
                      <a:pt x="135382" y="245617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46" name="object 19">
                <a:extLst>
                  <a:ext uri="{FF2B5EF4-FFF2-40B4-BE49-F238E27FC236}">
                    <a16:creationId xmlns:a16="http://schemas.microsoft.com/office/drawing/2014/main" id="{DF317434-C24B-4454-9B1C-ADC0050375A5}"/>
                  </a:ext>
                </a:extLst>
              </p:cNvPr>
              <p:cNvSpPr/>
              <p:nvPr/>
            </p:nvSpPr>
            <p:spPr>
              <a:xfrm>
                <a:off x="4111752" y="1822704"/>
                <a:ext cx="772795" cy="1082675"/>
              </a:xfrm>
              <a:custGeom>
                <a:avLst/>
                <a:gdLst/>
                <a:ahLst/>
                <a:cxnLst/>
                <a:rect l="l" t="t" r="r" b="b"/>
                <a:pathLst>
                  <a:path w="772795" h="1082675">
                    <a:moveTo>
                      <a:pt x="0" y="0"/>
                    </a:moveTo>
                    <a:lnTo>
                      <a:pt x="48863" y="1521"/>
                    </a:lnTo>
                    <a:lnTo>
                      <a:pt x="96919" y="6026"/>
                    </a:lnTo>
                    <a:lnTo>
                      <a:pt x="144077" y="13424"/>
                    </a:lnTo>
                    <a:lnTo>
                      <a:pt x="190246" y="23624"/>
                    </a:lnTo>
                    <a:lnTo>
                      <a:pt x="235337" y="36535"/>
                    </a:lnTo>
                    <a:lnTo>
                      <a:pt x="279258" y="52067"/>
                    </a:lnTo>
                    <a:lnTo>
                      <a:pt x="321919" y="70128"/>
                    </a:lnTo>
                    <a:lnTo>
                      <a:pt x="363229" y="90629"/>
                    </a:lnTo>
                    <a:lnTo>
                      <a:pt x="403098" y="113479"/>
                    </a:lnTo>
                    <a:lnTo>
                      <a:pt x="441436" y="138587"/>
                    </a:lnTo>
                    <a:lnTo>
                      <a:pt x="478151" y="165862"/>
                    </a:lnTo>
                    <a:lnTo>
                      <a:pt x="513154" y="195214"/>
                    </a:lnTo>
                    <a:lnTo>
                      <a:pt x="546354" y="226552"/>
                    </a:lnTo>
                    <a:lnTo>
                      <a:pt x="577659" y="259785"/>
                    </a:lnTo>
                    <a:lnTo>
                      <a:pt x="606981" y="294823"/>
                    </a:lnTo>
                    <a:lnTo>
                      <a:pt x="634228" y="331575"/>
                    </a:lnTo>
                    <a:lnTo>
                      <a:pt x="659309" y="369951"/>
                    </a:lnTo>
                    <a:lnTo>
                      <a:pt x="682135" y="409859"/>
                    </a:lnTo>
                    <a:lnTo>
                      <a:pt x="702614" y="451210"/>
                    </a:lnTo>
                    <a:lnTo>
                      <a:pt x="720657" y="493912"/>
                    </a:lnTo>
                    <a:lnTo>
                      <a:pt x="736172" y="537875"/>
                    </a:lnTo>
                    <a:lnTo>
                      <a:pt x="749069" y="583008"/>
                    </a:lnTo>
                    <a:lnTo>
                      <a:pt x="759257" y="629221"/>
                    </a:lnTo>
                    <a:lnTo>
                      <a:pt x="766647" y="676422"/>
                    </a:lnTo>
                    <a:lnTo>
                      <a:pt x="771147" y="724522"/>
                    </a:lnTo>
                    <a:lnTo>
                      <a:pt x="772668" y="773430"/>
                    </a:lnTo>
                    <a:lnTo>
                      <a:pt x="770853" y="826453"/>
                    </a:lnTo>
                    <a:lnTo>
                      <a:pt x="765433" y="879103"/>
                    </a:lnTo>
                    <a:lnTo>
                      <a:pt x="756443" y="931195"/>
                    </a:lnTo>
                    <a:lnTo>
                      <a:pt x="743918" y="982547"/>
                    </a:lnTo>
                    <a:lnTo>
                      <a:pt x="727894" y="1032974"/>
                    </a:lnTo>
                    <a:lnTo>
                      <a:pt x="708406" y="1082294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47" name="object 40">
                <a:extLst>
                  <a:ext uri="{FF2B5EF4-FFF2-40B4-BE49-F238E27FC236}">
                    <a16:creationId xmlns:a16="http://schemas.microsoft.com/office/drawing/2014/main" id="{88D6923C-17EB-48BC-8268-80D6B052F581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565403" y="0"/>
                    </a:moveTo>
                    <a:lnTo>
                      <a:pt x="516614" y="2075"/>
                    </a:lnTo>
                    <a:lnTo>
                      <a:pt x="468978" y="8187"/>
                    </a:lnTo>
                    <a:lnTo>
                      <a:pt x="422665" y="18167"/>
                    </a:lnTo>
                    <a:lnTo>
                      <a:pt x="377844" y="31845"/>
                    </a:lnTo>
                    <a:lnTo>
                      <a:pt x="334686" y="49051"/>
                    </a:lnTo>
                    <a:lnTo>
                      <a:pt x="293360" y="69615"/>
                    </a:lnTo>
                    <a:lnTo>
                      <a:pt x="254034" y="93369"/>
                    </a:lnTo>
                    <a:lnTo>
                      <a:pt x="216881" y="120142"/>
                    </a:lnTo>
                    <a:lnTo>
                      <a:pt x="182067" y="149765"/>
                    </a:lnTo>
                    <a:lnTo>
                      <a:pt x="149765" y="182067"/>
                    </a:lnTo>
                    <a:lnTo>
                      <a:pt x="120142" y="216881"/>
                    </a:lnTo>
                    <a:lnTo>
                      <a:pt x="93369" y="254034"/>
                    </a:lnTo>
                    <a:lnTo>
                      <a:pt x="69615" y="293360"/>
                    </a:lnTo>
                    <a:lnTo>
                      <a:pt x="49051" y="334686"/>
                    </a:lnTo>
                    <a:lnTo>
                      <a:pt x="31845" y="377844"/>
                    </a:lnTo>
                    <a:lnTo>
                      <a:pt x="18167" y="422665"/>
                    </a:lnTo>
                    <a:lnTo>
                      <a:pt x="8187" y="468978"/>
                    </a:lnTo>
                    <a:lnTo>
                      <a:pt x="2075" y="516614"/>
                    </a:lnTo>
                    <a:lnTo>
                      <a:pt x="0" y="565404"/>
                    </a:lnTo>
                    <a:lnTo>
                      <a:pt x="2075" y="614193"/>
                    </a:lnTo>
                    <a:lnTo>
                      <a:pt x="8187" y="661829"/>
                    </a:lnTo>
                    <a:lnTo>
                      <a:pt x="18167" y="708142"/>
                    </a:lnTo>
                    <a:lnTo>
                      <a:pt x="31845" y="752963"/>
                    </a:lnTo>
                    <a:lnTo>
                      <a:pt x="49051" y="796121"/>
                    </a:lnTo>
                    <a:lnTo>
                      <a:pt x="69615" y="837447"/>
                    </a:lnTo>
                    <a:lnTo>
                      <a:pt x="93369" y="876773"/>
                    </a:lnTo>
                    <a:lnTo>
                      <a:pt x="120142" y="913926"/>
                    </a:lnTo>
                    <a:lnTo>
                      <a:pt x="149765" y="948740"/>
                    </a:lnTo>
                    <a:lnTo>
                      <a:pt x="182067" y="981042"/>
                    </a:lnTo>
                    <a:lnTo>
                      <a:pt x="216881" y="1010665"/>
                    </a:lnTo>
                    <a:lnTo>
                      <a:pt x="254034" y="1037438"/>
                    </a:lnTo>
                    <a:lnTo>
                      <a:pt x="293360" y="1061192"/>
                    </a:lnTo>
                    <a:lnTo>
                      <a:pt x="334686" y="1081756"/>
                    </a:lnTo>
                    <a:lnTo>
                      <a:pt x="377844" y="1098962"/>
                    </a:lnTo>
                    <a:lnTo>
                      <a:pt x="422665" y="1112640"/>
                    </a:lnTo>
                    <a:lnTo>
                      <a:pt x="468978" y="1122620"/>
                    </a:lnTo>
                    <a:lnTo>
                      <a:pt x="516614" y="1128732"/>
                    </a:lnTo>
                    <a:lnTo>
                      <a:pt x="565403" y="1130808"/>
                    </a:lnTo>
                    <a:lnTo>
                      <a:pt x="614193" y="1128732"/>
                    </a:lnTo>
                    <a:lnTo>
                      <a:pt x="661829" y="1122620"/>
                    </a:lnTo>
                    <a:lnTo>
                      <a:pt x="708142" y="1112640"/>
                    </a:lnTo>
                    <a:lnTo>
                      <a:pt x="752963" y="1098962"/>
                    </a:lnTo>
                    <a:lnTo>
                      <a:pt x="796121" y="1081756"/>
                    </a:lnTo>
                    <a:lnTo>
                      <a:pt x="837447" y="1061192"/>
                    </a:lnTo>
                    <a:lnTo>
                      <a:pt x="876773" y="1037438"/>
                    </a:lnTo>
                    <a:lnTo>
                      <a:pt x="913926" y="1010665"/>
                    </a:lnTo>
                    <a:lnTo>
                      <a:pt x="948740" y="981042"/>
                    </a:lnTo>
                    <a:lnTo>
                      <a:pt x="981042" y="948740"/>
                    </a:lnTo>
                    <a:lnTo>
                      <a:pt x="1010665" y="913926"/>
                    </a:lnTo>
                    <a:lnTo>
                      <a:pt x="1037438" y="876773"/>
                    </a:lnTo>
                    <a:lnTo>
                      <a:pt x="1061192" y="837447"/>
                    </a:lnTo>
                    <a:lnTo>
                      <a:pt x="1081756" y="796121"/>
                    </a:lnTo>
                    <a:lnTo>
                      <a:pt x="1098962" y="752963"/>
                    </a:lnTo>
                    <a:lnTo>
                      <a:pt x="1112640" y="708142"/>
                    </a:lnTo>
                    <a:lnTo>
                      <a:pt x="1122620" y="661829"/>
                    </a:lnTo>
                    <a:lnTo>
                      <a:pt x="1128732" y="614193"/>
                    </a:lnTo>
                    <a:lnTo>
                      <a:pt x="1130807" y="565404"/>
                    </a:lnTo>
                    <a:lnTo>
                      <a:pt x="1128732" y="516614"/>
                    </a:lnTo>
                    <a:lnTo>
                      <a:pt x="1122620" y="468978"/>
                    </a:lnTo>
                    <a:lnTo>
                      <a:pt x="1112640" y="422665"/>
                    </a:lnTo>
                    <a:lnTo>
                      <a:pt x="1098962" y="377844"/>
                    </a:lnTo>
                    <a:lnTo>
                      <a:pt x="1081756" y="334686"/>
                    </a:lnTo>
                    <a:lnTo>
                      <a:pt x="1061192" y="293360"/>
                    </a:lnTo>
                    <a:lnTo>
                      <a:pt x="1037438" y="254034"/>
                    </a:lnTo>
                    <a:lnTo>
                      <a:pt x="1010665" y="216881"/>
                    </a:lnTo>
                    <a:lnTo>
                      <a:pt x="981042" y="182067"/>
                    </a:lnTo>
                    <a:lnTo>
                      <a:pt x="948740" y="149765"/>
                    </a:lnTo>
                    <a:lnTo>
                      <a:pt x="913926" y="120142"/>
                    </a:lnTo>
                    <a:lnTo>
                      <a:pt x="876773" y="93369"/>
                    </a:lnTo>
                    <a:lnTo>
                      <a:pt x="837447" y="69615"/>
                    </a:lnTo>
                    <a:lnTo>
                      <a:pt x="796121" y="49051"/>
                    </a:lnTo>
                    <a:lnTo>
                      <a:pt x="752963" y="31845"/>
                    </a:lnTo>
                    <a:lnTo>
                      <a:pt x="708142" y="18167"/>
                    </a:lnTo>
                    <a:lnTo>
                      <a:pt x="661829" y="8187"/>
                    </a:lnTo>
                    <a:lnTo>
                      <a:pt x="614193" y="2075"/>
                    </a:lnTo>
                    <a:lnTo>
                      <a:pt x="56540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48" name="object 41">
                <a:extLst>
                  <a:ext uri="{FF2B5EF4-FFF2-40B4-BE49-F238E27FC236}">
                    <a16:creationId xmlns:a16="http://schemas.microsoft.com/office/drawing/2014/main" id="{E0540B21-1A43-4A18-9E77-3E562982D9CA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0" y="565404"/>
                    </a:moveTo>
                    <a:lnTo>
                      <a:pt x="2075" y="516614"/>
                    </a:lnTo>
                    <a:lnTo>
                      <a:pt x="8187" y="468978"/>
                    </a:lnTo>
                    <a:lnTo>
                      <a:pt x="18167" y="422665"/>
                    </a:lnTo>
                    <a:lnTo>
                      <a:pt x="31845" y="377844"/>
                    </a:lnTo>
                    <a:lnTo>
                      <a:pt x="49051" y="334686"/>
                    </a:lnTo>
                    <a:lnTo>
                      <a:pt x="69615" y="293360"/>
                    </a:lnTo>
                    <a:lnTo>
                      <a:pt x="93369" y="254034"/>
                    </a:lnTo>
                    <a:lnTo>
                      <a:pt x="120142" y="216881"/>
                    </a:lnTo>
                    <a:lnTo>
                      <a:pt x="149765" y="182067"/>
                    </a:lnTo>
                    <a:lnTo>
                      <a:pt x="182067" y="149765"/>
                    </a:lnTo>
                    <a:lnTo>
                      <a:pt x="216881" y="120142"/>
                    </a:lnTo>
                    <a:lnTo>
                      <a:pt x="254034" y="93369"/>
                    </a:lnTo>
                    <a:lnTo>
                      <a:pt x="293360" y="69615"/>
                    </a:lnTo>
                    <a:lnTo>
                      <a:pt x="334686" y="49051"/>
                    </a:lnTo>
                    <a:lnTo>
                      <a:pt x="377844" y="31845"/>
                    </a:lnTo>
                    <a:lnTo>
                      <a:pt x="422665" y="18167"/>
                    </a:lnTo>
                    <a:lnTo>
                      <a:pt x="468978" y="8187"/>
                    </a:lnTo>
                    <a:lnTo>
                      <a:pt x="516614" y="2075"/>
                    </a:lnTo>
                    <a:lnTo>
                      <a:pt x="565403" y="0"/>
                    </a:lnTo>
                    <a:lnTo>
                      <a:pt x="614193" y="2075"/>
                    </a:lnTo>
                    <a:lnTo>
                      <a:pt x="661829" y="8187"/>
                    </a:lnTo>
                    <a:lnTo>
                      <a:pt x="708142" y="18167"/>
                    </a:lnTo>
                    <a:lnTo>
                      <a:pt x="752963" y="31845"/>
                    </a:lnTo>
                    <a:lnTo>
                      <a:pt x="796121" y="49051"/>
                    </a:lnTo>
                    <a:lnTo>
                      <a:pt x="837447" y="69615"/>
                    </a:lnTo>
                    <a:lnTo>
                      <a:pt x="876773" y="93369"/>
                    </a:lnTo>
                    <a:lnTo>
                      <a:pt x="913926" y="120142"/>
                    </a:lnTo>
                    <a:lnTo>
                      <a:pt x="948740" y="149765"/>
                    </a:lnTo>
                    <a:lnTo>
                      <a:pt x="981042" y="182067"/>
                    </a:lnTo>
                    <a:lnTo>
                      <a:pt x="1010665" y="216881"/>
                    </a:lnTo>
                    <a:lnTo>
                      <a:pt x="1037438" y="254034"/>
                    </a:lnTo>
                    <a:lnTo>
                      <a:pt x="1061192" y="293360"/>
                    </a:lnTo>
                    <a:lnTo>
                      <a:pt x="1081756" y="334686"/>
                    </a:lnTo>
                    <a:lnTo>
                      <a:pt x="1098962" y="377844"/>
                    </a:lnTo>
                    <a:lnTo>
                      <a:pt x="1112640" y="422665"/>
                    </a:lnTo>
                    <a:lnTo>
                      <a:pt x="1122620" y="468978"/>
                    </a:lnTo>
                    <a:lnTo>
                      <a:pt x="1128732" y="516614"/>
                    </a:lnTo>
                    <a:lnTo>
                      <a:pt x="1130807" y="565404"/>
                    </a:lnTo>
                    <a:lnTo>
                      <a:pt x="1128732" y="614193"/>
                    </a:lnTo>
                    <a:lnTo>
                      <a:pt x="1122620" y="661829"/>
                    </a:lnTo>
                    <a:lnTo>
                      <a:pt x="1112640" y="708142"/>
                    </a:lnTo>
                    <a:lnTo>
                      <a:pt x="1098962" y="752963"/>
                    </a:lnTo>
                    <a:lnTo>
                      <a:pt x="1081756" y="796121"/>
                    </a:lnTo>
                    <a:lnTo>
                      <a:pt x="1061192" y="837447"/>
                    </a:lnTo>
                    <a:lnTo>
                      <a:pt x="1037438" y="876773"/>
                    </a:lnTo>
                    <a:lnTo>
                      <a:pt x="1010665" y="913926"/>
                    </a:lnTo>
                    <a:lnTo>
                      <a:pt x="981042" y="948740"/>
                    </a:lnTo>
                    <a:lnTo>
                      <a:pt x="948740" y="981042"/>
                    </a:lnTo>
                    <a:lnTo>
                      <a:pt x="913926" y="1010665"/>
                    </a:lnTo>
                    <a:lnTo>
                      <a:pt x="876773" y="1037438"/>
                    </a:lnTo>
                    <a:lnTo>
                      <a:pt x="837447" y="1061192"/>
                    </a:lnTo>
                    <a:lnTo>
                      <a:pt x="796121" y="1081756"/>
                    </a:lnTo>
                    <a:lnTo>
                      <a:pt x="752963" y="1098962"/>
                    </a:lnTo>
                    <a:lnTo>
                      <a:pt x="708142" y="1112640"/>
                    </a:lnTo>
                    <a:lnTo>
                      <a:pt x="661829" y="1122620"/>
                    </a:lnTo>
                    <a:lnTo>
                      <a:pt x="614193" y="1128732"/>
                    </a:lnTo>
                    <a:lnTo>
                      <a:pt x="565403" y="1130808"/>
                    </a:lnTo>
                    <a:lnTo>
                      <a:pt x="516614" y="1128732"/>
                    </a:lnTo>
                    <a:lnTo>
                      <a:pt x="468978" y="1122620"/>
                    </a:lnTo>
                    <a:lnTo>
                      <a:pt x="422665" y="1112640"/>
                    </a:lnTo>
                    <a:lnTo>
                      <a:pt x="377844" y="1098962"/>
                    </a:lnTo>
                    <a:lnTo>
                      <a:pt x="334686" y="1081756"/>
                    </a:lnTo>
                    <a:lnTo>
                      <a:pt x="293360" y="1061192"/>
                    </a:lnTo>
                    <a:lnTo>
                      <a:pt x="254034" y="1037438"/>
                    </a:lnTo>
                    <a:lnTo>
                      <a:pt x="216881" y="1010665"/>
                    </a:lnTo>
                    <a:lnTo>
                      <a:pt x="182067" y="981042"/>
                    </a:lnTo>
                    <a:lnTo>
                      <a:pt x="149765" y="948740"/>
                    </a:lnTo>
                    <a:lnTo>
                      <a:pt x="120142" y="913926"/>
                    </a:lnTo>
                    <a:lnTo>
                      <a:pt x="93369" y="876773"/>
                    </a:lnTo>
                    <a:lnTo>
                      <a:pt x="69615" y="837447"/>
                    </a:lnTo>
                    <a:lnTo>
                      <a:pt x="49051" y="796121"/>
                    </a:lnTo>
                    <a:lnTo>
                      <a:pt x="31845" y="752963"/>
                    </a:lnTo>
                    <a:lnTo>
                      <a:pt x="18167" y="708142"/>
                    </a:lnTo>
                    <a:lnTo>
                      <a:pt x="8187" y="661829"/>
                    </a:lnTo>
                    <a:lnTo>
                      <a:pt x="2075" y="614193"/>
                    </a:lnTo>
                    <a:lnTo>
                      <a:pt x="0" y="565404"/>
                    </a:lnTo>
                    <a:close/>
                  </a:path>
                </a:pathLst>
              </a:custGeom>
              <a:ln w="19812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</p:grpSp>
        <p:sp>
          <p:nvSpPr>
            <p:cNvPr id="142" name="object 21">
              <a:extLst>
                <a:ext uri="{FF2B5EF4-FFF2-40B4-BE49-F238E27FC236}">
                  <a16:creationId xmlns:a16="http://schemas.microsoft.com/office/drawing/2014/main" id="{1E1CBDB3-FECD-49E2-B2F4-633318DE7FBA}"/>
                </a:ext>
              </a:extLst>
            </p:cNvPr>
            <p:cNvSpPr txBox="1"/>
            <p:nvPr/>
          </p:nvSpPr>
          <p:spPr>
            <a:xfrm>
              <a:off x="2141108" y="2963986"/>
              <a:ext cx="1399885" cy="41525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 indent="635" algn="ctr" defTabSz="914378">
                <a:defRPr/>
              </a:pPr>
              <a:r>
                <a:rPr lang="nb-NO" sz="600" kern="0" spc="-10">
                  <a:solidFill>
                    <a:srgbClr val="000000"/>
                  </a:solidFill>
                  <a:latin typeface="Poppins" panose="00000800000000000000" charset="0"/>
                  <a:cs typeface="Poppins" panose="00000800000000000000" charset="0"/>
                  <a:sym typeface="Arial"/>
                </a:rPr>
                <a:t>Innkjøpsordre mottas av leverandør, som sender varen/ utfører tjenesten</a:t>
              </a:r>
            </a:p>
          </p:txBody>
        </p:sp>
      </p:grpSp>
      <p:sp>
        <p:nvSpPr>
          <p:cNvPr id="149" name="object 65">
            <a:extLst>
              <a:ext uri="{FF2B5EF4-FFF2-40B4-BE49-F238E27FC236}">
                <a16:creationId xmlns:a16="http://schemas.microsoft.com/office/drawing/2014/main" id="{66F5108E-9519-4604-AD17-2143B6E7DB3C}"/>
              </a:ext>
            </a:extLst>
          </p:cNvPr>
          <p:cNvSpPr/>
          <p:nvPr/>
        </p:nvSpPr>
        <p:spPr>
          <a:xfrm rot="2101331">
            <a:off x="1334348" y="1803826"/>
            <a:ext cx="603721" cy="13635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defTabSz="914378">
              <a:defRPr/>
            </a:pPr>
            <a:endParaRPr>
              <a:solidFill>
                <a:srgbClr val="5C5C5C"/>
              </a:solidFill>
              <a:latin typeface="Open Sans"/>
              <a:cs typeface="Arial"/>
              <a:sym typeface="Arial"/>
            </a:endParaRPr>
          </a:p>
        </p:txBody>
      </p:sp>
      <p:cxnSp>
        <p:nvCxnSpPr>
          <p:cNvPr id="150" name="Connector: Curved 149">
            <a:extLst>
              <a:ext uri="{FF2B5EF4-FFF2-40B4-BE49-F238E27FC236}">
                <a16:creationId xmlns:a16="http://schemas.microsoft.com/office/drawing/2014/main" id="{06A9A288-6941-4D42-8471-6E9DFDC84E1E}"/>
              </a:ext>
            </a:extLst>
          </p:cNvPr>
          <p:cNvCxnSpPr>
            <a:cxnSpLocks/>
          </p:cNvCxnSpPr>
          <p:nvPr/>
        </p:nvCxnSpPr>
        <p:spPr>
          <a:xfrm flipV="1">
            <a:off x="2669222" y="1945499"/>
            <a:ext cx="627114" cy="471713"/>
          </a:xfrm>
          <a:prstGeom prst="curvedConnector2">
            <a:avLst/>
          </a:prstGeom>
          <a:ln>
            <a:solidFill>
              <a:schemeClr val="accent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object 65">
            <a:extLst>
              <a:ext uri="{FF2B5EF4-FFF2-40B4-BE49-F238E27FC236}">
                <a16:creationId xmlns:a16="http://schemas.microsoft.com/office/drawing/2014/main" id="{C4064277-52DE-4107-B734-61222933E2E6}"/>
              </a:ext>
            </a:extLst>
          </p:cNvPr>
          <p:cNvSpPr/>
          <p:nvPr/>
        </p:nvSpPr>
        <p:spPr>
          <a:xfrm rot="2101331">
            <a:off x="4230707" y="1691297"/>
            <a:ext cx="603721" cy="13635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defTabSz="914378">
              <a:defRPr/>
            </a:pPr>
            <a:endParaRPr>
              <a:solidFill>
                <a:srgbClr val="5C5C5C"/>
              </a:solidFill>
              <a:latin typeface="Open Sans"/>
              <a:cs typeface="Arial"/>
              <a:sym typeface="Arial"/>
            </a:endParaRPr>
          </a:p>
        </p:txBody>
      </p:sp>
      <p:cxnSp>
        <p:nvCxnSpPr>
          <p:cNvPr id="152" name="Connector: Curved 151">
            <a:extLst>
              <a:ext uri="{FF2B5EF4-FFF2-40B4-BE49-F238E27FC236}">
                <a16:creationId xmlns:a16="http://schemas.microsoft.com/office/drawing/2014/main" id="{20DA7E69-E893-46BD-92AD-FF634A02CF06}"/>
              </a:ext>
            </a:extLst>
          </p:cNvPr>
          <p:cNvCxnSpPr>
            <a:cxnSpLocks/>
          </p:cNvCxnSpPr>
          <p:nvPr/>
        </p:nvCxnSpPr>
        <p:spPr>
          <a:xfrm flipV="1">
            <a:off x="5666709" y="1913140"/>
            <a:ext cx="627114" cy="471713"/>
          </a:xfrm>
          <a:prstGeom prst="curvedConnector2">
            <a:avLst/>
          </a:prstGeom>
          <a:ln>
            <a:solidFill>
              <a:schemeClr val="accent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EB965960-B762-4DE2-90B8-8E622BCB6223}"/>
              </a:ext>
            </a:extLst>
          </p:cNvPr>
          <p:cNvGrpSpPr/>
          <p:nvPr/>
        </p:nvGrpSpPr>
        <p:grpSpPr>
          <a:xfrm>
            <a:off x="6197690" y="1383955"/>
            <a:ext cx="933803" cy="1039159"/>
            <a:chOff x="2141108" y="1682998"/>
            <a:chExt cx="1399885" cy="1557825"/>
          </a:xfrm>
        </p:grpSpPr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A26C5716-24F9-4D80-89CE-AC3B755530EF}"/>
                </a:ext>
              </a:extLst>
            </p:cNvPr>
            <p:cNvGrpSpPr/>
            <p:nvPr/>
          </p:nvGrpSpPr>
          <p:grpSpPr>
            <a:xfrm>
              <a:off x="2320780" y="1682998"/>
              <a:ext cx="1171444" cy="1224343"/>
              <a:chOff x="3467100" y="1822704"/>
              <a:chExt cx="1417447" cy="1481455"/>
            </a:xfrm>
          </p:grpSpPr>
          <p:sp>
            <p:nvSpPr>
              <p:cNvPr id="168" name="object 17">
                <a:extLst>
                  <a:ext uri="{FF2B5EF4-FFF2-40B4-BE49-F238E27FC236}">
                    <a16:creationId xmlns:a16="http://schemas.microsoft.com/office/drawing/2014/main" id="{9B0DDB07-0D30-4431-8477-45B380F53AF4}"/>
                  </a:ext>
                </a:extLst>
              </p:cNvPr>
              <p:cNvSpPr/>
              <p:nvPr/>
            </p:nvSpPr>
            <p:spPr>
              <a:xfrm>
                <a:off x="3550284" y="1898904"/>
                <a:ext cx="1259840" cy="1405255"/>
              </a:xfrm>
              <a:custGeom>
                <a:avLst/>
                <a:gdLst/>
                <a:ahLst/>
                <a:cxnLst/>
                <a:rect l="l" t="t" r="r" b="b"/>
                <a:pathLst>
                  <a:path w="1259839" h="1405254">
                    <a:moveTo>
                      <a:pt x="556132" y="0"/>
                    </a:moveTo>
                    <a:lnTo>
                      <a:pt x="604293" y="1620"/>
                    </a:lnTo>
                    <a:lnTo>
                      <a:pt x="651582" y="6414"/>
                    </a:lnTo>
                    <a:lnTo>
                      <a:pt x="697894" y="14274"/>
                    </a:lnTo>
                    <a:lnTo>
                      <a:pt x="743124" y="25098"/>
                    </a:lnTo>
                    <a:lnTo>
                      <a:pt x="787169" y="38780"/>
                    </a:lnTo>
                    <a:lnTo>
                      <a:pt x="829923" y="55215"/>
                    </a:lnTo>
                    <a:lnTo>
                      <a:pt x="871281" y="74299"/>
                    </a:lnTo>
                    <a:lnTo>
                      <a:pt x="911140" y="95927"/>
                    </a:lnTo>
                    <a:lnTo>
                      <a:pt x="949394" y="119994"/>
                    </a:lnTo>
                    <a:lnTo>
                      <a:pt x="985938" y="146397"/>
                    </a:lnTo>
                    <a:lnTo>
                      <a:pt x="1020669" y="175029"/>
                    </a:lnTo>
                    <a:lnTo>
                      <a:pt x="1053480" y="205787"/>
                    </a:lnTo>
                    <a:lnTo>
                      <a:pt x="1084269" y="238566"/>
                    </a:lnTo>
                    <a:lnTo>
                      <a:pt x="1112929" y="273261"/>
                    </a:lnTo>
                    <a:lnTo>
                      <a:pt x="1139356" y="309767"/>
                    </a:lnTo>
                    <a:lnTo>
                      <a:pt x="1163447" y="347980"/>
                    </a:lnTo>
                    <a:lnTo>
                      <a:pt x="1185094" y="387794"/>
                    </a:lnTo>
                    <a:lnTo>
                      <a:pt x="1204196" y="429107"/>
                    </a:lnTo>
                    <a:lnTo>
                      <a:pt x="1220645" y="471812"/>
                    </a:lnTo>
                    <a:lnTo>
                      <a:pt x="1234339" y="515805"/>
                    </a:lnTo>
                    <a:lnTo>
                      <a:pt x="1245172" y="560981"/>
                    </a:lnTo>
                    <a:lnTo>
                      <a:pt x="1253039" y="607236"/>
                    </a:lnTo>
                    <a:lnTo>
                      <a:pt x="1257836" y="654465"/>
                    </a:lnTo>
                    <a:lnTo>
                      <a:pt x="1259459" y="702563"/>
                    </a:lnTo>
                    <a:lnTo>
                      <a:pt x="1257836" y="750662"/>
                    </a:lnTo>
                    <a:lnTo>
                      <a:pt x="1253039" y="797891"/>
                    </a:lnTo>
                    <a:lnTo>
                      <a:pt x="1245172" y="844146"/>
                    </a:lnTo>
                    <a:lnTo>
                      <a:pt x="1234339" y="889322"/>
                    </a:lnTo>
                    <a:lnTo>
                      <a:pt x="1220645" y="933315"/>
                    </a:lnTo>
                    <a:lnTo>
                      <a:pt x="1204196" y="976020"/>
                    </a:lnTo>
                    <a:lnTo>
                      <a:pt x="1185094" y="1017333"/>
                    </a:lnTo>
                    <a:lnTo>
                      <a:pt x="1163447" y="1057147"/>
                    </a:lnTo>
                    <a:lnTo>
                      <a:pt x="1139356" y="1095360"/>
                    </a:lnTo>
                    <a:lnTo>
                      <a:pt x="1112929" y="1131866"/>
                    </a:lnTo>
                    <a:lnTo>
                      <a:pt x="1084269" y="1166561"/>
                    </a:lnTo>
                    <a:lnTo>
                      <a:pt x="1053480" y="1199340"/>
                    </a:lnTo>
                    <a:lnTo>
                      <a:pt x="1020669" y="1230098"/>
                    </a:lnTo>
                    <a:lnTo>
                      <a:pt x="985938" y="1258730"/>
                    </a:lnTo>
                    <a:lnTo>
                      <a:pt x="949394" y="1285133"/>
                    </a:lnTo>
                    <a:lnTo>
                      <a:pt x="911140" y="1309200"/>
                    </a:lnTo>
                    <a:lnTo>
                      <a:pt x="871281" y="1330828"/>
                    </a:lnTo>
                    <a:lnTo>
                      <a:pt x="829923" y="1349912"/>
                    </a:lnTo>
                    <a:lnTo>
                      <a:pt x="787169" y="1366347"/>
                    </a:lnTo>
                    <a:lnTo>
                      <a:pt x="743124" y="1380029"/>
                    </a:lnTo>
                    <a:lnTo>
                      <a:pt x="697894" y="1390853"/>
                    </a:lnTo>
                    <a:lnTo>
                      <a:pt x="651582" y="1398713"/>
                    </a:lnTo>
                    <a:lnTo>
                      <a:pt x="604293" y="1403507"/>
                    </a:lnTo>
                    <a:lnTo>
                      <a:pt x="556132" y="1405128"/>
                    </a:lnTo>
                    <a:lnTo>
                      <a:pt x="506172" y="1403355"/>
                    </a:lnTo>
                    <a:lnTo>
                      <a:pt x="456808" y="1398092"/>
                    </a:lnTo>
                    <a:lnTo>
                      <a:pt x="408205" y="1389418"/>
                    </a:lnTo>
                    <a:lnTo>
                      <a:pt x="360525" y="1377414"/>
                    </a:lnTo>
                    <a:lnTo>
                      <a:pt x="313933" y="1362159"/>
                    </a:lnTo>
                    <a:lnTo>
                      <a:pt x="268593" y="1343733"/>
                    </a:lnTo>
                    <a:lnTo>
                      <a:pt x="224667" y="1322217"/>
                    </a:lnTo>
                    <a:lnTo>
                      <a:pt x="182321" y="1297691"/>
                    </a:lnTo>
                    <a:lnTo>
                      <a:pt x="141717" y="1270235"/>
                    </a:lnTo>
                    <a:lnTo>
                      <a:pt x="103019" y="1239929"/>
                    </a:lnTo>
                    <a:lnTo>
                      <a:pt x="66391" y="1206853"/>
                    </a:lnTo>
                    <a:lnTo>
                      <a:pt x="31997" y="1171088"/>
                    </a:lnTo>
                    <a:lnTo>
                      <a:pt x="0" y="1132713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71" name="object 18">
                <a:extLst>
                  <a:ext uri="{FF2B5EF4-FFF2-40B4-BE49-F238E27FC236}">
                    <a16:creationId xmlns:a16="http://schemas.microsoft.com/office/drawing/2014/main" id="{2482E04A-9041-41F9-951D-B752F59206C1}"/>
                  </a:ext>
                </a:extLst>
              </p:cNvPr>
              <p:cNvSpPr/>
              <p:nvPr/>
            </p:nvSpPr>
            <p:spPr>
              <a:xfrm>
                <a:off x="3467100" y="1962911"/>
                <a:ext cx="1278890" cy="1277620"/>
              </a:xfrm>
              <a:custGeom>
                <a:avLst/>
                <a:gdLst/>
                <a:ahLst/>
                <a:cxnLst/>
                <a:rect l="l" t="t" r="r" b="b"/>
                <a:pathLst>
                  <a:path w="1278889" h="1277620">
                    <a:moveTo>
                      <a:pt x="639317" y="0"/>
                    </a:moveTo>
                    <a:lnTo>
                      <a:pt x="687027" y="1751"/>
                    </a:lnTo>
                    <a:lnTo>
                      <a:pt x="733785" y="6923"/>
                    </a:lnTo>
                    <a:lnTo>
                      <a:pt x="779468" y="15392"/>
                    </a:lnTo>
                    <a:lnTo>
                      <a:pt x="823952" y="27034"/>
                    </a:lnTo>
                    <a:lnTo>
                      <a:pt x="867112" y="41727"/>
                    </a:lnTo>
                    <a:lnTo>
                      <a:pt x="908827" y="59346"/>
                    </a:lnTo>
                    <a:lnTo>
                      <a:pt x="948971" y="79769"/>
                    </a:lnTo>
                    <a:lnTo>
                      <a:pt x="987422" y="102871"/>
                    </a:lnTo>
                    <a:lnTo>
                      <a:pt x="1024055" y="128530"/>
                    </a:lnTo>
                    <a:lnTo>
                      <a:pt x="1058747" y="156622"/>
                    </a:lnTo>
                    <a:lnTo>
                      <a:pt x="1091374" y="187023"/>
                    </a:lnTo>
                    <a:lnTo>
                      <a:pt x="1121813" y="219610"/>
                    </a:lnTo>
                    <a:lnTo>
                      <a:pt x="1149940" y="254260"/>
                    </a:lnTo>
                    <a:lnTo>
                      <a:pt x="1175631" y="290849"/>
                    </a:lnTo>
                    <a:lnTo>
                      <a:pt x="1198763" y="329253"/>
                    </a:lnTo>
                    <a:lnTo>
                      <a:pt x="1219212" y="369350"/>
                    </a:lnTo>
                    <a:lnTo>
                      <a:pt x="1236854" y="411016"/>
                    </a:lnTo>
                    <a:lnTo>
                      <a:pt x="1251565" y="454127"/>
                    </a:lnTo>
                    <a:lnTo>
                      <a:pt x="1263223" y="498560"/>
                    </a:lnTo>
                    <a:lnTo>
                      <a:pt x="1271703" y="544191"/>
                    </a:lnTo>
                    <a:lnTo>
                      <a:pt x="1276882" y="590898"/>
                    </a:lnTo>
                    <a:lnTo>
                      <a:pt x="1278636" y="638555"/>
                    </a:lnTo>
                    <a:lnTo>
                      <a:pt x="1276882" y="686213"/>
                    </a:lnTo>
                    <a:lnTo>
                      <a:pt x="1271703" y="732920"/>
                    </a:lnTo>
                    <a:lnTo>
                      <a:pt x="1263223" y="778551"/>
                    </a:lnTo>
                    <a:lnTo>
                      <a:pt x="1251565" y="822984"/>
                    </a:lnTo>
                    <a:lnTo>
                      <a:pt x="1236854" y="866095"/>
                    </a:lnTo>
                    <a:lnTo>
                      <a:pt x="1219212" y="907761"/>
                    </a:lnTo>
                    <a:lnTo>
                      <a:pt x="1198763" y="947858"/>
                    </a:lnTo>
                    <a:lnTo>
                      <a:pt x="1175631" y="986262"/>
                    </a:lnTo>
                    <a:lnTo>
                      <a:pt x="1149940" y="1022851"/>
                    </a:lnTo>
                    <a:lnTo>
                      <a:pt x="1121813" y="1057501"/>
                    </a:lnTo>
                    <a:lnTo>
                      <a:pt x="1091374" y="1090088"/>
                    </a:lnTo>
                    <a:lnTo>
                      <a:pt x="1058747" y="1120489"/>
                    </a:lnTo>
                    <a:lnTo>
                      <a:pt x="1024055" y="1148581"/>
                    </a:lnTo>
                    <a:lnTo>
                      <a:pt x="987422" y="1174240"/>
                    </a:lnTo>
                    <a:lnTo>
                      <a:pt x="948971" y="1197342"/>
                    </a:lnTo>
                    <a:lnTo>
                      <a:pt x="908827" y="1217765"/>
                    </a:lnTo>
                    <a:lnTo>
                      <a:pt x="867112" y="1235384"/>
                    </a:lnTo>
                    <a:lnTo>
                      <a:pt x="823952" y="1250077"/>
                    </a:lnTo>
                    <a:lnTo>
                      <a:pt x="779468" y="1261719"/>
                    </a:lnTo>
                    <a:lnTo>
                      <a:pt x="733785" y="1270188"/>
                    </a:lnTo>
                    <a:lnTo>
                      <a:pt x="687027" y="1275360"/>
                    </a:lnTo>
                    <a:lnTo>
                      <a:pt x="639317" y="1277112"/>
                    </a:lnTo>
                    <a:lnTo>
                      <a:pt x="591608" y="1275360"/>
                    </a:lnTo>
                    <a:lnTo>
                      <a:pt x="544850" y="1270188"/>
                    </a:lnTo>
                    <a:lnTo>
                      <a:pt x="499167" y="1261719"/>
                    </a:lnTo>
                    <a:lnTo>
                      <a:pt x="454683" y="1250077"/>
                    </a:lnTo>
                    <a:lnTo>
                      <a:pt x="411523" y="1235384"/>
                    </a:lnTo>
                    <a:lnTo>
                      <a:pt x="369808" y="1217765"/>
                    </a:lnTo>
                    <a:lnTo>
                      <a:pt x="329664" y="1197342"/>
                    </a:lnTo>
                    <a:lnTo>
                      <a:pt x="291213" y="1174240"/>
                    </a:lnTo>
                    <a:lnTo>
                      <a:pt x="254580" y="1148581"/>
                    </a:lnTo>
                    <a:lnTo>
                      <a:pt x="219888" y="1120489"/>
                    </a:lnTo>
                    <a:lnTo>
                      <a:pt x="187261" y="1090088"/>
                    </a:lnTo>
                    <a:lnTo>
                      <a:pt x="156822" y="1057501"/>
                    </a:lnTo>
                    <a:lnTo>
                      <a:pt x="128695" y="1022851"/>
                    </a:lnTo>
                    <a:lnTo>
                      <a:pt x="103004" y="986262"/>
                    </a:lnTo>
                    <a:lnTo>
                      <a:pt x="79872" y="947858"/>
                    </a:lnTo>
                    <a:lnTo>
                      <a:pt x="59423" y="907761"/>
                    </a:lnTo>
                    <a:lnTo>
                      <a:pt x="41781" y="866095"/>
                    </a:lnTo>
                    <a:lnTo>
                      <a:pt x="27070" y="822984"/>
                    </a:lnTo>
                    <a:lnTo>
                      <a:pt x="15412" y="778551"/>
                    </a:lnTo>
                    <a:lnTo>
                      <a:pt x="6932" y="732920"/>
                    </a:lnTo>
                    <a:lnTo>
                      <a:pt x="1753" y="686213"/>
                    </a:lnTo>
                    <a:lnTo>
                      <a:pt x="0" y="638555"/>
                    </a:lnTo>
                    <a:lnTo>
                      <a:pt x="2217" y="585401"/>
                    </a:lnTo>
                    <a:lnTo>
                      <a:pt x="8812" y="532886"/>
                    </a:lnTo>
                    <a:lnTo>
                      <a:pt x="19696" y="481266"/>
                    </a:lnTo>
                    <a:lnTo>
                      <a:pt x="34782" y="430799"/>
                    </a:lnTo>
                    <a:lnTo>
                      <a:pt x="53981" y="381744"/>
                    </a:lnTo>
                    <a:lnTo>
                      <a:pt x="77206" y="334357"/>
                    </a:lnTo>
                    <a:lnTo>
                      <a:pt x="104368" y="288895"/>
                    </a:lnTo>
                    <a:lnTo>
                      <a:pt x="135382" y="245617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87" name="object 19">
                <a:extLst>
                  <a:ext uri="{FF2B5EF4-FFF2-40B4-BE49-F238E27FC236}">
                    <a16:creationId xmlns:a16="http://schemas.microsoft.com/office/drawing/2014/main" id="{2AE59C75-B014-4470-9528-4F25A72C052A}"/>
                  </a:ext>
                </a:extLst>
              </p:cNvPr>
              <p:cNvSpPr/>
              <p:nvPr/>
            </p:nvSpPr>
            <p:spPr>
              <a:xfrm>
                <a:off x="4111752" y="1822704"/>
                <a:ext cx="772795" cy="1082675"/>
              </a:xfrm>
              <a:custGeom>
                <a:avLst/>
                <a:gdLst/>
                <a:ahLst/>
                <a:cxnLst/>
                <a:rect l="l" t="t" r="r" b="b"/>
                <a:pathLst>
                  <a:path w="772795" h="1082675">
                    <a:moveTo>
                      <a:pt x="0" y="0"/>
                    </a:moveTo>
                    <a:lnTo>
                      <a:pt x="48863" y="1521"/>
                    </a:lnTo>
                    <a:lnTo>
                      <a:pt x="96919" y="6026"/>
                    </a:lnTo>
                    <a:lnTo>
                      <a:pt x="144077" y="13424"/>
                    </a:lnTo>
                    <a:lnTo>
                      <a:pt x="190246" y="23624"/>
                    </a:lnTo>
                    <a:lnTo>
                      <a:pt x="235337" y="36535"/>
                    </a:lnTo>
                    <a:lnTo>
                      <a:pt x="279258" y="52067"/>
                    </a:lnTo>
                    <a:lnTo>
                      <a:pt x="321919" y="70128"/>
                    </a:lnTo>
                    <a:lnTo>
                      <a:pt x="363229" y="90629"/>
                    </a:lnTo>
                    <a:lnTo>
                      <a:pt x="403098" y="113479"/>
                    </a:lnTo>
                    <a:lnTo>
                      <a:pt x="441436" y="138587"/>
                    </a:lnTo>
                    <a:lnTo>
                      <a:pt x="478151" y="165862"/>
                    </a:lnTo>
                    <a:lnTo>
                      <a:pt x="513154" y="195214"/>
                    </a:lnTo>
                    <a:lnTo>
                      <a:pt x="546354" y="226552"/>
                    </a:lnTo>
                    <a:lnTo>
                      <a:pt x="577659" y="259785"/>
                    </a:lnTo>
                    <a:lnTo>
                      <a:pt x="606981" y="294823"/>
                    </a:lnTo>
                    <a:lnTo>
                      <a:pt x="634228" y="331575"/>
                    </a:lnTo>
                    <a:lnTo>
                      <a:pt x="659309" y="369951"/>
                    </a:lnTo>
                    <a:lnTo>
                      <a:pt x="682135" y="409859"/>
                    </a:lnTo>
                    <a:lnTo>
                      <a:pt x="702614" y="451210"/>
                    </a:lnTo>
                    <a:lnTo>
                      <a:pt x="720657" y="493912"/>
                    </a:lnTo>
                    <a:lnTo>
                      <a:pt x="736172" y="537875"/>
                    </a:lnTo>
                    <a:lnTo>
                      <a:pt x="749069" y="583008"/>
                    </a:lnTo>
                    <a:lnTo>
                      <a:pt x="759257" y="629221"/>
                    </a:lnTo>
                    <a:lnTo>
                      <a:pt x="766647" y="676422"/>
                    </a:lnTo>
                    <a:lnTo>
                      <a:pt x="771147" y="724522"/>
                    </a:lnTo>
                    <a:lnTo>
                      <a:pt x="772668" y="773430"/>
                    </a:lnTo>
                    <a:lnTo>
                      <a:pt x="770853" y="826453"/>
                    </a:lnTo>
                    <a:lnTo>
                      <a:pt x="765433" y="879103"/>
                    </a:lnTo>
                    <a:lnTo>
                      <a:pt x="756443" y="931195"/>
                    </a:lnTo>
                    <a:lnTo>
                      <a:pt x="743918" y="982547"/>
                    </a:lnTo>
                    <a:lnTo>
                      <a:pt x="727894" y="1032974"/>
                    </a:lnTo>
                    <a:lnTo>
                      <a:pt x="708406" y="1082294"/>
                    </a:lnTo>
                  </a:path>
                </a:pathLst>
              </a:custGeom>
              <a:ln w="15240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91" name="object 40">
                <a:extLst>
                  <a:ext uri="{FF2B5EF4-FFF2-40B4-BE49-F238E27FC236}">
                    <a16:creationId xmlns:a16="http://schemas.microsoft.com/office/drawing/2014/main" id="{30DF43D6-9B8C-4235-AE58-789CD408D7B2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565403" y="0"/>
                    </a:moveTo>
                    <a:lnTo>
                      <a:pt x="516614" y="2075"/>
                    </a:lnTo>
                    <a:lnTo>
                      <a:pt x="468978" y="8187"/>
                    </a:lnTo>
                    <a:lnTo>
                      <a:pt x="422665" y="18167"/>
                    </a:lnTo>
                    <a:lnTo>
                      <a:pt x="377844" y="31845"/>
                    </a:lnTo>
                    <a:lnTo>
                      <a:pt x="334686" y="49051"/>
                    </a:lnTo>
                    <a:lnTo>
                      <a:pt x="293360" y="69615"/>
                    </a:lnTo>
                    <a:lnTo>
                      <a:pt x="254034" y="93369"/>
                    </a:lnTo>
                    <a:lnTo>
                      <a:pt x="216881" y="120142"/>
                    </a:lnTo>
                    <a:lnTo>
                      <a:pt x="182067" y="149765"/>
                    </a:lnTo>
                    <a:lnTo>
                      <a:pt x="149765" y="182067"/>
                    </a:lnTo>
                    <a:lnTo>
                      <a:pt x="120142" y="216881"/>
                    </a:lnTo>
                    <a:lnTo>
                      <a:pt x="93369" y="254034"/>
                    </a:lnTo>
                    <a:lnTo>
                      <a:pt x="69615" y="293360"/>
                    </a:lnTo>
                    <a:lnTo>
                      <a:pt x="49051" y="334686"/>
                    </a:lnTo>
                    <a:lnTo>
                      <a:pt x="31845" y="377844"/>
                    </a:lnTo>
                    <a:lnTo>
                      <a:pt x="18167" y="422665"/>
                    </a:lnTo>
                    <a:lnTo>
                      <a:pt x="8187" y="468978"/>
                    </a:lnTo>
                    <a:lnTo>
                      <a:pt x="2075" y="516614"/>
                    </a:lnTo>
                    <a:lnTo>
                      <a:pt x="0" y="565404"/>
                    </a:lnTo>
                    <a:lnTo>
                      <a:pt x="2075" y="614193"/>
                    </a:lnTo>
                    <a:lnTo>
                      <a:pt x="8187" y="661829"/>
                    </a:lnTo>
                    <a:lnTo>
                      <a:pt x="18167" y="708142"/>
                    </a:lnTo>
                    <a:lnTo>
                      <a:pt x="31845" y="752963"/>
                    </a:lnTo>
                    <a:lnTo>
                      <a:pt x="49051" y="796121"/>
                    </a:lnTo>
                    <a:lnTo>
                      <a:pt x="69615" y="837447"/>
                    </a:lnTo>
                    <a:lnTo>
                      <a:pt x="93369" y="876773"/>
                    </a:lnTo>
                    <a:lnTo>
                      <a:pt x="120142" y="913926"/>
                    </a:lnTo>
                    <a:lnTo>
                      <a:pt x="149765" y="948740"/>
                    </a:lnTo>
                    <a:lnTo>
                      <a:pt x="182067" y="981042"/>
                    </a:lnTo>
                    <a:lnTo>
                      <a:pt x="216881" y="1010665"/>
                    </a:lnTo>
                    <a:lnTo>
                      <a:pt x="254034" y="1037438"/>
                    </a:lnTo>
                    <a:lnTo>
                      <a:pt x="293360" y="1061192"/>
                    </a:lnTo>
                    <a:lnTo>
                      <a:pt x="334686" y="1081756"/>
                    </a:lnTo>
                    <a:lnTo>
                      <a:pt x="377844" y="1098962"/>
                    </a:lnTo>
                    <a:lnTo>
                      <a:pt x="422665" y="1112640"/>
                    </a:lnTo>
                    <a:lnTo>
                      <a:pt x="468978" y="1122620"/>
                    </a:lnTo>
                    <a:lnTo>
                      <a:pt x="516614" y="1128732"/>
                    </a:lnTo>
                    <a:lnTo>
                      <a:pt x="565403" y="1130808"/>
                    </a:lnTo>
                    <a:lnTo>
                      <a:pt x="614193" y="1128732"/>
                    </a:lnTo>
                    <a:lnTo>
                      <a:pt x="661829" y="1122620"/>
                    </a:lnTo>
                    <a:lnTo>
                      <a:pt x="708142" y="1112640"/>
                    </a:lnTo>
                    <a:lnTo>
                      <a:pt x="752963" y="1098962"/>
                    </a:lnTo>
                    <a:lnTo>
                      <a:pt x="796121" y="1081756"/>
                    </a:lnTo>
                    <a:lnTo>
                      <a:pt x="837447" y="1061192"/>
                    </a:lnTo>
                    <a:lnTo>
                      <a:pt x="876773" y="1037438"/>
                    </a:lnTo>
                    <a:lnTo>
                      <a:pt x="913926" y="1010665"/>
                    </a:lnTo>
                    <a:lnTo>
                      <a:pt x="948740" y="981042"/>
                    </a:lnTo>
                    <a:lnTo>
                      <a:pt x="981042" y="948740"/>
                    </a:lnTo>
                    <a:lnTo>
                      <a:pt x="1010665" y="913926"/>
                    </a:lnTo>
                    <a:lnTo>
                      <a:pt x="1037438" y="876773"/>
                    </a:lnTo>
                    <a:lnTo>
                      <a:pt x="1061192" y="837447"/>
                    </a:lnTo>
                    <a:lnTo>
                      <a:pt x="1081756" y="796121"/>
                    </a:lnTo>
                    <a:lnTo>
                      <a:pt x="1098962" y="752963"/>
                    </a:lnTo>
                    <a:lnTo>
                      <a:pt x="1112640" y="708142"/>
                    </a:lnTo>
                    <a:lnTo>
                      <a:pt x="1122620" y="661829"/>
                    </a:lnTo>
                    <a:lnTo>
                      <a:pt x="1128732" y="614193"/>
                    </a:lnTo>
                    <a:lnTo>
                      <a:pt x="1130807" y="565404"/>
                    </a:lnTo>
                    <a:lnTo>
                      <a:pt x="1128732" y="516614"/>
                    </a:lnTo>
                    <a:lnTo>
                      <a:pt x="1122620" y="468978"/>
                    </a:lnTo>
                    <a:lnTo>
                      <a:pt x="1112640" y="422665"/>
                    </a:lnTo>
                    <a:lnTo>
                      <a:pt x="1098962" y="377844"/>
                    </a:lnTo>
                    <a:lnTo>
                      <a:pt x="1081756" y="334686"/>
                    </a:lnTo>
                    <a:lnTo>
                      <a:pt x="1061192" y="293360"/>
                    </a:lnTo>
                    <a:lnTo>
                      <a:pt x="1037438" y="254034"/>
                    </a:lnTo>
                    <a:lnTo>
                      <a:pt x="1010665" y="216881"/>
                    </a:lnTo>
                    <a:lnTo>
                      <a:pt x="981042" y="182067"/>
                    </a:lnTo>
                    <a:lnTo>
                      <a:pt x="948740" y="149765"/>
                    </a:lnTo>
                    <a:lnTo>
                      <a:pt x="913926" y="120142"/>
                    </a:lnTo>
                    <a:lnTo>
                      <a:pt x="876773" y="93369"/>
                    </a:lnTo>
                    <a:lnTo>
                      <a:pt x="837447" y="69615"/>
                    </a:lnTo>
                    <a:lnTo>
                      <a:pt x="796121" y="49051"/>
                    </a:lnTo>
                    <a:lnTo>
                      <a:pt x="752963" y="31845"/>
                    </a:lnTo>
                    <a:lnTo>
                      <a:pt x="708142" y="18167"/>
                    </a:lnTo>
                    <a:lnTo>
                      <a:pt x="661829" y="8187"/>
                    </a:lnTo>
                    <a:lnTo>
                      <a:pt x="614193" y="2075"/>
                    </a:lnTo>
                    <a:lnTo>
                      <a:pt x="56540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  <p:sp>
            <p:nvSpPr>
              <p:cNvPr id="192" name="object 41">
                <a:extLst>
                  <a:ext uri="{FF2B5EF4-FFF2-40B4-BE49-F238E27FC236}">
                    <a16:creationId xmlns:a16="http://schemas.microsoft.com/office/drawing/2014/main" id="{2CAE493D-10E9-4ED5-A34B-076D81B7D1A5}"/>
                  </a:ext>
                </a:extLst>
              </p:cNvPr>
              <p:cNvSpPr/>
              <p:nvPr/>
            </p:nvSpPr>
            <p:spPr>
              <a:xfrm>
                <a:off x="3547109" y="2032254"/>
                <a:ext cx="1130935" cy="1130935"/>
              </a:xfrm>
              <a:custGeom>
                <a:avLst/>
                <a:gdLst/>
                <a:ahLst/>
                <a:cxnLst/>
                <a:rect l="l" t="t" r="r" b="b"/>
                <a:pathLst>
                  <a:path w="1130935" h="1130935">
                    <a:moveTo>
                      <a:pt x="0" y="565404"/>
                    </a:moveTo>
                    <a:lnTo>
                      <a:pt x="2075" y="516614"/>
                    </a:lnTo>
                    <a:lnTo>
                      <a:pt x="8187" y="468978"/>
                    </a:lnTo>
                    <a:lnTo>
                      <a:pt x="18167" y="422665"/>
                    </a:lnTo>
                    <a:lnTo>
                      <a:pt x="31845" y="377844"/>
                    </a:lnTo>
                    <a:lnTo>
                      <a:pt x="49051" y="334686"/>
                    </a:lnTo>
                    <a:lnTo>
                      <a:pt x="69615" y="293360"/>
                    </a:lnTo>
                    <a:lnTo>
                      <a:pt x="93369" y="254034"/>
                    </a:lnTo>
                    <a:lnTo>
                      <a:pt x="120142" y="216881"/>
                    </a:lnTo>
                    <a:lnTo>
                      <a:pt x="149765" y="182067"/>
                    </a:lnTo>
                    <a:lnTo>
                      <a:pt x="182067" y="149765"/>
                    </a:lnTo>
                    <a:lnTo>
                      <a:pt x="216881" y="120142"/>
                    </a:lnTo>
                    <a:lnTo>
                      <a:pt x="254034" y="93369"/>
                    </a:lnTo>
                    <a:lnTo>
                      <a:pt x="293360" y="69615"/>
                    </a:lnTo>
                    <a:lnTo>
                      <a:pt x="334686" y="49051"/>
                    </a:lnTo>
                    <a:lnTo>
                      <a:pt x="377844" y="31845"/>
                    </a:lnTo>
                    <a:lnTo>
                      <a:pt x="422665" y="18167"/>
                    </a:lnTo>
                    <a:lnTo>
                      <a:pt x="468978" y="8187"/>
                    </a:lnTo>
                    <a:lnTo>
                      <a:pt x="516614" y="2075"/>
                    </a:lnTo>
                    <a:lnTo>
                      <a:pt x="565403" y="0"/>
                    </a:lnTo>
                    <a:lnTo>
                      <a:pt x="614193" y="2075"/>
                    </a:lnTo>
                    <a:lnTo>
                      <a:pt x="661829" y="8187"/>
                    </a:lnTo>
                    <a:lnTo>
                      <a:pt x="708142" y="18167"/>
                    </a:lnTo>
                    <a:lnTo>
                      <a:pt x="752963" y="31845"/>
                    </a:lnTo>
                    <a:lnTo>
                      <a:pt x="796121" y="49051"/>
                    </a:lnTo>
                    <a:lnTo>
                      <a:pt x="837447" y="69615"/>
                    </a:lnTo>
                    <a:lnTo>
                      <a:pt x="876773" y="93369"/>
                    </a:lnTo>
                    <a:lnTo>
                      <a:pt x="913926" y="120142"/>
                    </a:lnTo>
                    <a:lnTo>
                      <a:pt x="948740" y="149765"/>
                    </a:lnTo>
                    <a:lnTo>
                      <a:pt x="981042" y="182067"/>
                    </a:lnTo>
                    <a:lnTo>
                      <a:pt x="1010665" y="216881"/>
                    </a:lnTo>
                    <a:lnTo>
                      <a:pt x="1037438" y="254034"/>
                    </a:lnTo>
                    <a:lnTo>
                      <a:pt x="1061192" y="293360"/>
                    </a:lnTo>
                    <a:lnTo>
                      <a:pt x="1081756" y="334686"/>
                    </a:lnTo>
                    <a:lnTo>
                      <a:pt x="1098962" y="377844"/>
                    </a:lnTo>
                    <a:lnTo>
                      <a:pt x="1112640" y="422665"/>
                    </a:lnTo>
                    <a:lnTo>
                      <a:pt x="1122620" y="468978"/>
                    </a:lnTo>
                    <a:lnTo>
                      <a:pt x="1128732" y="516614"/>
                    </a:lnTo>
                    <a:lnTo>
                      <a:pt x="1130807" y="565404"/>
                    </a:lnTo>
                    <a:lnTo>
                      <a:pt x="1128732" y="614193"/>
                    </a:lnTo>
                    <a:lnTo>
                      <a:pt x="1122620" y="661829"/>
                    </a:lnTo>
                    <a:lnTo>
                      <a:pt x="1112640" y="708142"/>
                    </a:lnTo>
                    <a:lnTo>
                      <a:pt x="1098962" y="752963"/>
                    </a:lnTo>
                    <a:lnTo>
                      <a:pt x="1081756" y="796121"/>
                    </a:lnTo>
                    <a:lnTo>
                      <a:pt x="1061192" y="837447"/>
                    </a:lnTo>
                    <a:lnTo>
                      <a:pt x="1037438" y="876773"/>
                    </a:lnTo>
                    <a:lnTo>
                      <a:pt x="1010665" y="913926"/>
                    </a:lnTo>
                    <a:lnTo>
                      <a:pt x="981042" y="948740"/>
                    </a:lnTo>
                    <a:lnTo>
                      <a:pt x="948740" y="981042"/>
                    </a:lnTo>
                    <a:lnTo>
                      <a:pt x="913926" y="1010665"/>
                    </a:lnTo>
                    <a:lnTo>
                      <a:pt x="876773" y="1037438"/>
                    </a:lnTo>
                    <a:lnTo>
                      <a:pt x="837447" y="1061192"/>
                    </a:lnTo>
                    <a:lnTo>
                      <a:pt x="796121" y="1081756"/>
                    </a:lnTo>
                    <a:lnTo>
                      <a:pt x="752963" y="1098962"/>
                    </a:lnTo>
                    <a:lnTo>
                      <a:pt x="708142" y="1112640"/>
                    </a:lnTo>
                    <a:lnTo>
                      <a:pt x="661829" y="1122620"/>
                    </a:lnTo>
                    <a:lnTo>
                      <a:pt x="614193" y="1128732"/>
                    </a:lnTo>
                    <a:lnTo>
                      <a:pt x="565403" y="1130808"/>
                    </a:lnTo>
                    <a:lnTo>
                      <a:pt x="516614" y="1128732"/>
                    </a:lnTo>
                    <a:lnTo>
                      <a:pt x="468978" y="1122620"/>
                    </a:lnTo>
                    <a:lnTo>
                      <a:pt x="422665" y="1112640"/>
                    </a:lnTo>
                    <a:lnTo>
                      <a:pt x="377844" y="1098962"/>
                    </a:lnTo>
                    <a:lnTo>
                      <a:pt x="334686" y="1081756"/>
                    </a:lnTo>
                    <a:lnTo>
                      <a:pt x="293360" y="1061192"/>
                    </a:lnTo>
                    <a:lnTo>
                      <a:pt x="254034" y="1037438"/>
                    </a:lnTo>
                    <a:lnTo>
                      <a:pt x="216881" y="1010665"/>
                    </a:lnTo>
                    <a:lnTo>
                      <a:pt x="182067" y="981042"/>
                    </a:lnTo>
                    <a:lnTo>
                      <a:pt x="149765" y="948740"/>
                    </a:lnTo>
                    <a:lnTo>
                      <a:pt x="120142" y="913926"/>
                    </a:lnTo>
                    <a:lnTo>
                      <a:pt x="93369" y="876773"/>
                    </a:lnTo>
                    <a:lnTo>
                      <a:pt x="69615" y="837447"/>
                    </a:lnTo>
                    <a:lnTo>
                      <a:pt x="49051" y="796121"/>
                    </a:lnTo>
                    <a:lnTo>
                      <a:pt x="31845" y="752963"/>
                    </a:lnTo>
                    <a:lnTo>
                      <a:pt x="18167" y="708142"/>
                    </a:lnTo>
                    <a:lnTo>
                      <a:pt x="8187" y="661829"/>
                    </a:lnTo>
                    <a:lnTo>
                      <a:pt x="2075" y="614193"/>
                    </a:lnTo>
                    <a:lnTo>
                      <a:pt x="0" y="565404"/>
                    </a:lnTo>
                    <a:close/>
                  </a:path>
                </a:pathLst>
              </a:custGeom>
              <a:ln w="19812">
                <a:solidFill>
                  <a:srgbClr val="A6A6A6"/>
                </a:solidFill>
              </a:ln>
            </p:spPr>
            <p:txBody>
              <a:bodyPr wrap="square" lIns="0" tIns="0" rIns="0" bIns="0" rtlCol="0"/>
              <a:lstStyle/>
              <a:p>
                <a:pPr defTabSz="914378">
                  <a:defRPr/>
                </a:pPr>
                <a:endParaRPr sz="900" kern="0">
                  <a:solidFill>
                    <a:srgbClr val="5C5C5C"/>
                  </a:solidFill>
                  <a:latin typeface="Open Sans"/>
                  <a:cs typeface="Arial"/>
                  <a:sym typeface="Arial"/>
                </a:endParaRPr>
              </a:p>
            </p:txBody>
          </p:sp>
        </p:grpSp>
        <p:sp>
          <p:nvSpPr>
            <p:cNvPr id="166" name="object 21">
              <a:extLst>
                <a:ext uri="{FF2B5EF4-FFF2-40B4-BE49-F238E27FC236}">
                  <a16:creationId xmlns:a16="http://schemas.microsoft.com/office/drawing/2014/main" id="{54D233BD-BFD0-4912-8A3B-1B42B71B2D4C}"/>
                </a:ext>
              </a:extLst>
            </p:cNvPr>
            <p:cNvSpPr txBox="1"/>
            <p:nvPr/>
          </p:nvSpPr>
          <p:spPr>
            <a:xfrm>
              <a:off x="2141108" y="2963986"/>
              <a:ext cx="1399885" cy="27683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 indent="635" algn="ctr" defTabSz="914378">
                <a:defRPr/>
              </a:pPr>
              <a:r>
                <a:rPr lang="nb-NO" sz="600" kern="0" spc="-10">
                  <a:solidFill>
                    <a:srgbClr val="000000"/>
                  </a:solidFill>
                  <a:latin typeface="Poppins" panose="00000800000000000000" charset="0"/>
                  <a:cs typeface="Poppins" panose="00000800000000000000" charset="0"/>
                  <a:sym typeface="Arial"/>
                </a:rPr>
                <a:t>Leverandør sender ut faktura</a:t>
              </a:r>
            </a:p>
          </p:txBody>
        </p:sp>
      </p:grpSp>
      <p:sp>
        <p:nvSpPr>
          <p:cNvPr id="193" name="object 65">
            <a:extLst>
              <a:ext uri="{FF2B5EF4-FFF2-40B4-BE49-F238E27FC236}">
                <a16:creationId xmlns:a16="http://schemas.microsoft.com/office/drawing/2014/main" id="{CF328160-937A-4FDE-B2BE-60F03C8628C6}"/>
              </a:ext>
            </a:extLst>
          </p:cNvPr>
          <p:cNvSpPr/>
          <p:nvPr/>
        </p:nvSpPr>
        <p:spPr>
          <a:xfrm rot="2101331">
            <a:off x="7216862" y="1724165"/>
            <a:ext cx="603721" cy="13635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defTabSz="914378">
              <a:defRPr/>
            </a:pPr>
            <a:endParaRPr>
              <a:solidFill>
                <a:srgbClr val="5C5C5C"/>
              </a:solidFill>
              <a:latin typeface="Open Sans"/>
              <a:cs typeface="Arial"/>
              <a:sym typeface="Arial"/>
            </a:endParaRPr>
          </a:p>
        </p:txBody>
      </p:sp>
      <p:sp>
        <p:nvSpPr>
          <p:cNvPr id="194" name="object 21">
            <a:extLst>
              <a:ext uri="{FF2B5EF4-FFF2-40B4-BE49-F238E27FC236}">
                <a16:creationId xmlns:a16="http://schemas.microsoft.com/office/drawing/2014/main" id="{13550D25-05B7-422E-9CC4-67DF5493350F}"/>
              </a:ext>
            </a:extLst>
          </p:cNvPr>
          <p:cNvSpPr txBox="1"/>
          <p:nvPr/>
        </p:nvSpPr>
        <p:spPr>
          <a:xfrm>
            <a:off x="7680138" y="1647449"/>
            <a:ext cx="933803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indent="635" algn="ctr" defTabSz="914378">
              <a:defRPr/>
            </a:pPr>
            <a:r>
              <a:rPr lang="nb-NO" sz="600" kern="0" spc="-10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  <a:sym typeface="Arial"/>
              </a:rPr>
              <a:t>Faktura mottas</a:t>
            </a:r>
          </a:p>
        </p:txBody>
      </p:sp>
      <p:sp>
        <p:nvSpPr>
          <p:cNvPr id="195" name="object 65">
            <a:extLst>
              <a:ext uri="{FF2B5EF4-FFF2-40B4-BE49-F238E27FC236}">
                <a16:creationId xmlns:a16="http://schemas.microsoft.com/office/drawing/2014/main" id="{F866FF07-306D-48A3-AC3B-690A154BF633}"/>
              </a:ext>
            </a:extLst>
          </p:cNvPr>
          <p:cNvSpPr/>
          <p:nvPr/>
        </p:nvSpPr>
        <p:spPr>
          <a:xfrm rot="5629430">
            <a:off x="8313876" y="2900161"/>
            <a:ext cx="716870" cy="191146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defTabSz="914378">
              <a:defRPr/>
            </a:pPr>
            <a:endParaRPr>
              <a:solidFill>
                <a:srgbClr val="5C5C5C"/>
              </a:solidFill>
              <a:latin typeface="Open Sans"/>
              <a:cs typeface="Arial"/>
              <a:sym typeface="Arial"/>
            </a:endParaRPr>
          </a:p>
        </p:txBody>
      </p:sp>
      <p:sp>
        <p:nvSpPr>
          <p:cNvPr id="196" name="object 65">
            <a:extLst>
              <a:ext uri="{FF2B5EF4-FFF2-40B4-BE49-F238E27FC236}">
                <a16:creationId xmlns:a16="http://schemas.microsoft.com/office/drawing/2014/main" id="{7F91ECA8-587C-4EA6-8C67-C5A63F26F304}"/>
              </a:ext>
            </a:extLst>
          </p:cNvPr>
          <p:cNvSpPr/>
          <p:nvPr/>
        </p:nvSpPr>
        <p:spPr>
          <a:xfrm rot="12349707">
            <a:off x="7020838" y="3816307"/>
            <a:ext cx="603721" cy="13635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defTabSz="914378">
              <a:defRPr/>
            </a:pPr>
            <a:endParaRPr>
              <a:solidFill>
                <a:srgbClr val="5C5C5C"/>
              </a:solidFill>
              <a:latin typeface="Open Sans"/>
              <a:cs typeface="Arial"/>
              <a:sym typeface="Arial"/>
            </a:endParaRPr>
          </a:p>
        </p:txBody>
      </p:sp>
      <p:grpSp>
        <p:nvGrpSpPr>
          <p:cNvPr id="201" name="Group 170">
            <a:extLst>
              <a:ext uri="{FF2B5EF4-FFF2-40B4-BE49-F238E27FC236}">
                <a16:creationId xmlns:a16="http://schemas.microsoft.com/office/drawing/2014/main" id="{2E216BD7-8D1A-4DF0-BFE6-5CB414D54525}"/>
              </a:ext>
            </a:extLst>
          </p:cNvPr>
          <p:cNvGrpSpPr/>
          <p:nvPr/>
        </p:nvGrpSpPr>
        <p:grpSpPr>
          <a:xfrm>
            <a:off x="1884936" y="3277600"/>
            <a:ext cx="730227" cy="763200"/>
            <a:chOff x="3467100" y="1822704"/>
            <a:chExt cx="1417447" cy="1481455"/>
          </a:xfrm>
        </p:grpSpPr>
        <p:sp>
          <p:nvSpPr>
            <p:cNvPr id="202" name="object 17">
              <a:extLst>
                <a:ext uri="{FF2B5EF4-FFF2-40B4-BE49-F238E27FC236}">
                  <a16:creationId xmlns:a16="http://schemas.microsoft.com/office/drawing/2014/main" id="{C864A64A-D919-468B-AB24-FB4CB185693F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  <p:sp>
          <p:nvSpPr>
            <p:cNvPr id="203" name="object 18">
              <a:extLst>
                <a:ext uri="{FF2B5EF4-FFF2-40B4-BE49-F238E27FC236}">
                  <a16:creationId xmlns:a16="http://schemas.microsoft.com/office/drawing/2014/main" id="{8950448C-22DA-4714-9199-02EC43D38926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  <p:sp>
          <p:nvSpPr>
            <p:cNvPr id="204" name="object 19">
              <a:extLst>
                <a:ext uri="{FF2B5EF4-FFF2-40B4-BE49-F238E27FC236}">
                  <a16:creationId xmlns:a16="http://schemas.microsoft.com/office/drawing/2014/main" id="{0E0D1AAB-0FBE-49B7-88D2-4296C9E73C55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  <p:sp>
          <p:nvSpPr>
            <p:cNvPr id="205" name="object 40">
              <a:extLst>
                <a:ext uri="{FF2B5EF4-FFF2-40B4-BE49-F238E27FC236}">
                  <a16:creationId xmlns:a16="http://schemas.microsoft.com/office/drawing/2014/main" id="{679CAEF7-BAB0-4C61-A4DA-85530CF35457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  <p:sp>
          <p:nvSpPr>
            <p:cNvPr id="206" name="object 41">
              <a:extLst>
                <a:ext uri="{FF2B5EF4-FFF2-40B4-BE49-F238E27FC236}">
                  <a16:creationId xmlns:a16="http://schemas.microsoft.com/office/drawing/2014/main" id="{F1CB147B-08FB-43EB-969C-33A686AB79B6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pPr defTabSz="914378">
                <a:defRPr/>
              </a:pPr>
              <a:endParaRPr lang="nb-NO">
                <a:solidFill>
                  <a:srgbClr val="5C5C5C"/>
                </a:solidFill>
                <a:latin typeface="Open Sans"/>
                <a:cs typeface="Arial"/>
              </a:endParaRPr>
            </a:p>
          </p:txBody>
        </p:sp>
      </p:grpSp>
      <p:sp>
        <p:nvSpPr>
          <p:cNvPr id="207" name="object 65">
            <a:extLst>
              <a:ext uri="{FF2B5EF4-FFF2-40B4-BE49-F238E27FC236}">
                <a16:creationId xmlns:a16="http://schemas.microsoft.com/office/drawing/2014/main" id="{E4998EE2-2784-45DA-9AE4-FFDC2753D780}"/>
              </a:ext>
            </a:extLst>
          </p:cNvPr>
          <p:cNvSpPr/>
          <p:nvPr/>
        </p:nvSpPr>
        <p:spPr>
          <a:xfrm rot="12349707">
            <a:off x="4189119" y="3786533"/>
            <a:ext cx="603721" cy="13635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defTabSz="914378">
              <a:defRPr/>
            </a:pPr>
            <a:endParaRPr>
              <a:solidFill>
                <a:srgbClr val="5C5C5C"/>
              </a:solidFill>
              <a:latin typeface="Open Sans"/>
              <a:cs typeface="Arial"/>
              <a:sym typeface="Arial"/>
            </a:endParaRPr>
          </a:p>
        </p:txBody>
      </p:sp>
      <p:sp>
        <p:nvSpPr>
          <p:cNvPr id="208" name="object 21">
            <a:extLst>
              <a:ext uri="{FF2B5EF4-FFF2-40B4-BE49-F238E27FC236}">
                <a16:creationId xmlns:a16="http://schemas.microsoft.com/office/drawing/2014/main" id="{4AC105E2-7327-4662-88AF-7091B7F9D743}"/>
              </a:ext>
            </a:extLst>
          </p:cNvPr>
          <p:cNvSpPr txBox="1"/>
          <p:nvPr/>
        </p:nvSpPr>
        <p:spPr>
          <a:xfrm>
            <a:off x="1686021" y="3056212"/>
            <a:ext cx="1049464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indent="635" algn="ctr" defTabSz="914378">
              <a:defRPr/>
            </a:pPr>
            <a:r>
              <a:rPr lang="nb-NO" sz="600" spc="-10">
                <a:solidFill>
                  <a:srgbClr val="000000"/>
                </a:solidFill>
                <a:latin typeface="Poppins" panose="00000800000000000000" charset="0"/>
                <a:cs typeface="Poppins" panose="00000800000000000000" charset="0"/>
                <a:sym typeface="Arial"/>
              </a:rPr>
              <a:t>Leverandør mottar betaling</a:t>
            </a:r>
            <a:endParaRPr lang="nb-NO" sz="600">
              <a:solidFill>
                <a:srgbClr val="000000"/>
              </a:solidFill>
              <a:latin typeface="Poppins" panose="00000800000000000000" charset="0"/>
              <a:cs typeface="Poppins" panose="00000800000000000000" charset="0"/>
              <a:sym typeface="Arial"/>
            </a:endParaRPr>
          </a:p>
        </p:txBody>
      </p:sp>
      <p:sp>
        <p:nvSpPr>
          <p:cNvPr id="209" name="object 65">
            <a:extLst>
              <a:ext uri="{FF2B5EF4-FFF2-40B4-BE49-F238E27FC236}">
                <a16:creationId xmlns:a16="http://schemas.microsoft.com/office/drawing/2014/main" id="{DD548BBD-6556-4E23-BB10-2DC9B492D96D}"/>
              </a:ext>
            </a:extLst>
          </p:cNvPr>
          <p:cNvSpPr/>
          <p:nvPr/>
        </p:nvSpPr>
        <p:spPr>
          <a:xfrm>
            <a:off x="3488253" y="1725660"/>
            <a:ext cx="293633" cy="243386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85800">
              <a:defRPr/>
            </a:pPr>
            <a:endParaRPr sz="675" kern="0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210" name="Freeform 756">
            <a:extLst>
              <a:ext uri="{FF2B5EF4-FFF2-40B4-BE49-F238E27FC236}">
                <a16:creationId xmlns:a16="http://schemas.microsoft.com/office/drawing/2014/main" id="{E212D344-560A-4F0F-8A0D-66F767CB84BC}"/>
              </a:ext>
            </a:extLst>
          </p:cNvPr>
          <p:cNvSpPr>
            <a:spLocks noEditPoints="1"/>
          </p:cNvSpPr>
          <p:nvPr/>
        </p:nvSpPr>
        <p:spPr bwMode="auto">
          <a:xfrm>
            <a:off x="3789117" y="1751768"/>
            <a:ext cx="197796" cy="195360"/>
          </a:xfrm>
          <a:custGeom>
            <a:avLst/>
            <a:gdLst>
              <a:gd name="T0" fmla="*/ 165 w 299"/>
              <a:gd name="T1" fmla="*/ 29 h 299"/>
              <a:gd name="T2" fmla="*/ 121 w 299"/>
              <a:gd name="T3" fmla="*/ 24 h 299"/>
              <a:gd name="T4" fmla="*/ 154 w 299"/>
              <a:gd name="T5" fmla="*/ 1 h 299"/>
              <a:gd name="T6" fmla="*/ 64 w 299"/>
              <a:gd name="T7" fmla="*/ 61 h 299"/>
              <a:gd name="T8" fmla="*/ 107 w 299"/>
              <a:gd name="T9" fmla="*/ 31 h 299"/>
              <a:gd name="T10" fmla="*/ 54 w 299"/>
              <a:gd name="T11" fmla="*/ 55 h 299"/>
              <a:gd name="T12" fmla="*/ 26 w 299"/>
              <a:gd name="T13" fmla="*/ 56 h 299"/>
              <a:gd name="T14" fmla="*/ 0 w 299"/>
              <a:gd name="T15" fmla="*/ 96 h 299"/>
              <a:gd name="T16" fmla="*/ 22 w 299"/>
              <a:gd name="T17" fmla="*/ 91 h 299"/>
              <a:gd name="T18" fmla="*/ 40 w 299"/>
              <a:gd name="T19" fmla="*/ 88 h 299"/>
              <a:gd name="T20" fmla="*/ 59 w 299"/>
              <a:gd name="T21" fmla="*/ 109 h 299"/>
              <a:gd name="T22" fmla="*/ 107 w 299"/>
              <a:gd name="T23" fmla="*/ 119 h 299"/>
              <a:gd name="T24" fmla="*/ 54 w 299"/>
              <a:gd name="T25" fmla="*/ 95 h 299"/>
              <a:gd name="T26" fmla="*/ 150 w 299"/>
              <a:gd name="T27" fmla="*/ 127 h 299"/>
              <a:gd name="T28" fmla="*/ 126 w 299"/>
              <a:gd name="T29" fmla="*/ 139 h 299"/>
              <a:gd name="T30" fmla="*/ 150 w 299"/>
              <a:gd name="T31" fmla="*/ 171 h 299"/>
              <a:gd name="T32" fmla="*/ 174 w 299"/>
              <a:gd name="T33" fmla="*/ 139 h 299"/>
              <a:gd name="T34" fmla="*/ 231 w 299"/>
              <a:gd name="T35" fmla="*/ 89 h 299"/>
              <a:gd name="T36" fmla="*/ 202 w 299"/>
              <a:gd name="T37" fmla="*/ 125 h 299"/>
              <a:gd name="T38" fmla="*/ 245 w 299"/>
              <a:gd name="T39" fmla="*/ 95 h 299"/>
              <a:gd name="T40" fmla="*/ 273 w 299"/>
              <a:gd name="T41" fmla="*/ 56 h 299"/>
              <a:gd name="T42" fmla="*/ 259 w 299"/>
              <a:gd name="T43" fmla="*/ 88 h 299"/>
              <a:gd name="T44" fmla="*/ 278 w 299"/>
              <a:gd name="T45" fmla="*/ 91 h 299"/>
              <a:gd name="T46" fmla="*/ 299 w 299"/>
              <a:gd name="T47" fmla="*/ 96 h 299"/>
              <a:gd name="T48" fmla="*/ 240 w 299"/>
              <a:gd name="T49" fmla="*/ 41 h 299"/>
              <a:gd name="T50" fmla="*/ 198 w 299"/>
              <a:gd name="T51" fmla="*/ 45 h 299"/>
              <a:gd name="T52" fmla="*/ 245 w 299"/>
              <a:gd name="T53" fmla="*/ 55 h 299"/>
              <a:gd name="T54" fmla="*/ 22 w 299"/>
              <a:gd name="T55" fmla="*/ 160 h 299"/>
              <a:gd name="T56" fmla="*/ 0 w 299"/>
              <a:gd name="T57" fmla="*/ 128 h 299"/>
              <a:gd name="T58" fmla="*/ 35 w 299"/>
              <a:gd name="T59" fmla="*/ 214 h 299"/>
              <a:gd name="T60" fmla="*/ 11 w 299"/>
              <a:gd name="T61" fmla="*/ 181 h 299"/>
              <a:gd name="T62" fmla="*/ 6 w 299"/>
              <a:gd name="T63" fmla="*/ 223 h 299"/>
              <a:gd name="T64" fmla="*/ 39 w 299"/>
              <a:gd name="T65" fmla="*/ 229 h 299"/>
              <a:gd name="T66" fmla="*/ 69 w 299"/>
              <a:gd name="T67" fmla="*/ 232 h 299"/>
              <a:gd name="T68" fmla="*/ 92 w 299"/>
              <a:gd name="T69" fmla="*/ 269 h 299"/>
              <a:gd name="T70" fmla="*/ 102 w 299"/>
              <a:gd name="T71" fmla="*/ 250 h 299"/>
              <a:gd name="T72" fmla="*/ 160 w 299"/>
              <a:gd name="T73" fmla="*/ 203 h 299"/>
              <a:gd name="T74" fmla="*/ 139 w 299"/>
              <a:gd name="T75" fmla="*/ 235 h 299"/>
              <a:gd name="T76" fmla="*/ 160 w 299"/>
              <a:gd name="T77" fmla="*/ 271 h 299"/>
              <a:gd name="T78" fmla="*/ 139 w 299"/>
              <a:gd name="T79" fmla="*/ 267 h 299"/>
              <a:gd name="T80" fmla="*/ 121 w 299"/>
              <a:gd name="T81" fmla="*/ 273 h 299"/>
              <a:gd name="T82" fmla="*/ 150 w 299"/>
              <a:gd name="T83" fmla="*/ 299 h 299"/>
              <a:gd name="T84" fmla="*/ 174 w 299"/>
              <a:gd name="T85" fmla="*/ 289 h 299"/>
              <a:gd name="T86" fmla="*/ 231 w 299"/>
              <a:gd name="T87" fmla="*/ 239 h 299"/>
              <a:gd name="T88" fmla="*/ 202 w 299"/>
              <a:gd name="T89" fmla="*/ 274 h 299"/>
              <a:gd name="T90" fmla="*/ 245 w 299"/>
              <a:gd name="T91" fmla="*/ 244 h 299"/>
              <a:gd name="T92" fmla="*/ 278 w 299"/>
              <a:gd name="T93" fmla="*/ 203 h 299"/>
              <a:gd name="T94" fmla="*/ 259 w 299"/>
              <a:gd name="T95" fmla="*/ 237 h 299"/>
              <a:gd name="T96" fmla="*/ 293 w 299"/>
              <a:gd name="T97" fmla="*/ 234 h 299"/>
              <a:gd name="T98" fmla="*/ 288 w 299"/>
              <a:gd name="T99" fmla="*/ 192 h 299"/>
              <a:gd name="T100" fmla="*/ 278 w 299"/>
              <a:gd name="T101" fmla="*/ 171 h 299"/>
              <a:gd name="T102" fmla="*/ 299 w 299"/>
              <a:gd name="T103" fmla="*/ 139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99" h="299">
                <a:moveTo>
                  <a:pt x="179" y="24"/>
                </a:moveTo>
                <a:cubicBezTo>
                  <a:pt x="177" y="28"/>
                  <a:pt x="173" y="30"/>
                  <a:pt x="169" y="30"/>
                </a:cubicBezTo>
                <a:cubicBezTo>
                  <a:pt x="168" y="30"/>
                  <a:pt x="166" y="30"/>
                  <a:pt x="165" y="29"/>
                </a:cubicBezTo>
                <a:cubicBezTo>
                  <a:pt x="150" y="22"/>
                  <a:pt x="150" y="22"/>
                  <a:pt x="150" y="22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29" y="32"/>
                  <a:pt x="123" y="29"/>
                  <a:pt x="121" y="24"/>
                </a:cubicBezTo>
                <a:cubicBezTo>
                  <a:pt x="118" y="19"/>
                  <a:pt x="120" y="12"/>
                  <a:pt x="126" y="10"/>
                </a:cubicBezTo>
                <a:cubicBezTo>
                  <a:pt x="145" y="1"/>
                  <a:pt x="145" y="1"/>
                  <a:pt x="145" y="1"/>
                </a:cubicBezTo>
                <a:cubicBezTo>
                  <a:pt x="148" y="0"/>
                  <a:pt x="151" y="0"/>
                  <a:pt x="154" y="1"/>
                </a:cubicBezTo>
                <a:cubicBezTo>
                  <a:pt x="174" y="10"/>
                  <a:pt x="174" y="10"/>
                  <a:pt x="174" y="10"/>
                </a:cubicBezTo>
                <a:cubicBezTo>
                  <a:pt x="179" y="12"/>
                  <a:pt x="181" y="19"/>
                  <a:pt x="179" y="24"/>
                </a:cubicBezTo>
                <a:close/>
                <a:moveTo>
                  <a:pt x="64" y="61"/>
                </a:moveTo>
                <a:cubicBezTo>
                  <a:pt x="65" y="61"/>
                  <a:pt x="67" y="61"/>
                  <a:pt x="68" y="60"/>
                </a:cubicBezTo>
                <a:cubicBezTo>
                  <a:pt x="101" y="45"/>
                  <a:pt x="101" y="45"/>
                  <a:pt x="101" y="45"/>
                </a:cubicBezTo>
                <a:cubicBezTo>
                  <a:pt x="107" y="42"/>
                  <a:pt x="109" y="36"/>
                  <a:pt x="107" y="31"/>
                </a:cubicBezTo>
                <a:cubicBezTo>
                  <a:pt x="104" y="25"/>
                  <a:pt x="98" y="23"/>
                  <a:pt x="93" y="25"/>
                </a:cubicBezTo>
                <a:cubicBezTo>
                  <a:pt x="59" y="41"/>
                  <a:pt x="59" y="41"/>
                  <a:pt x="59" y="41"/>
                </a:cubicBezTo>
                <a:cubicBezTo>
                  <a:pt x="54" y="43"/>
                  <a:pt x="52" y="49"/>
                  <a:pt x="54" y="55"/>
                </a:cubicBezTo>
                <a:cubicBezTo>
                  <a:pt x="56" y="59"/>
                  <a:pt x="60" y="61"/>
                  <a:pt x="64" y="61"/>
                </a:cubicBezTo>
                <a:close/>
                <a:moveTo>
                  <a:pt x="40" y="61"/>
                </a:moveTo>
                <a:cubicBezTo>
                  <a:pt x="38" y="56"/>
                  <a:pt x="31" y="54"/>
                  <a:pt x="26" y="56"/>
                </a:cubicBezTo>
                <a:cubicBezTo>
                  <a:pt x="7" y="65"/>
                  <a:pt x="7" y="65"/>
                  <a:pt x="7" y="65"/>
                </a:cubicBezTo>
                <a:cubicBezTo>
                  <a:pt x="3" y="67"/>
                  <a:pt x="0" y="71"/>
                  <a:pt x="0" y="75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2"/>
                  <a:pt x="5" y="107"/>
                  <a:pt x="11" y="107"/>
                </a:cubicBezTo>
                <a:cubicBezTo>
                  <a:pt x="17" y="107"/>
                  <a:pt x="22" y="102"/>
                  <a:pt x="22" y="96"/>
                </a:cubicBezTo>
                <a:cubicBezTo>
                  <a:pt x="22" y="91"/>
                  <a:pt x="22" y="91"/>
                  <a:pt x="22" y="91"/>
                </a:cubicBezTo>
                <a:cubicBezTo>
                  <a:pt x="26" y="93"/>
                  <a:pt x="26" y="93"/>
                  <a:pt x="26" y="93"/>
                </a:cubicBezTo>
                <a:cubicBezTo>
                  <a:pt x="27" y="94"/>
                  <a:pt x="29" y="94"/>
                  <a:pt x="30" y="94"/>
                </a:cubicBezTo>
                <a:cubicBezTo>
                  <a:pt x="34" y="94"/>
                  <a:pt x="38" y="92"/>
                  <a:pt x="40" y="88"/>
                </a:cubicBezTo>
                <a:cubicBezTo>
                  <a:pt x="42" y="83"/>
                  <a:pt x="41" y="78"/>
                  <a:pt x="36" y="75"/>
                </a:cubicBezTo>
                <a:cubicBezTo>
                  <a:pt x="41" y="72"/>
                  <a:pt x="42" y="66"/>
                  <a:pt x="40" y="61"/>
                </a:cubicBezTo>
                <a:close/>
                <a:moveTo>
                  <a:pt x="59" y="109"/>
                </a:moveTo>
                <a:cubicBezTo>
                  <a:pt x="93" y="124"/>
                  <a:pt x="93" y="124"/>
                  <a:pt x="93" y="124"/>
                </a:cubicBezTo>
                <a:cubicBezTo>
                  <a:pt x="94" y="125"/>
                  <a:pt x="95" y="125"/>
                  <a:pt x="97" y="125"/>
                </a:cubicBezTo>
                <a:cubicBezTo>
                  <a:pt x="101" y="125"/>
                  <a:pt x="105" y="123"/>
                  <a:pt x="107" y="119"/>
                </a:cubicBezTo>
                <a:cubicBezTo>
                  <a:pt x="109" y="113"/>
                  <a:pt x="107" y="107"/>
                  <a:pt x="101" y="105"/>
                </a:cubicBezTo>
                <a:cubicBezTo>
                  <a:pt x="68" y="89"/>
                  <a:pt x="68" y="89"/>
                  <a:pt x="68" y="89"/>
                </a:cubicBezTo>
                <a:cubicBezTo>
                  <a:pt x="63" y="87"/>
                  <a:pt x="56" y="89"/>
                  <a:pt x="54" y="95"/>
                </a:cubicBezTo>
                <a:cubicBezTo>
                  <a:pt x="52" y="100"/>
                  <a:pt x="54" y="106"/>
                  <a:pt x="59" y="109"/>
                </a:cubicBezTo>
                <a:close/>
                <a:moveTo>
                  <a:pt x="165" y="120"/>
                </a:moveTo>
                <a:cubicBezTo>
                  <a:pt x="150" y="127"/>
                  <a:pt x="150" y="127"/>
                  <a:pt x="150" y="127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29" y="118"/>
                  <a:pt x="123" y="120"/>
                  <a:pt x="121" y="125"/>
                </a:cubicBezTo>
                <a:cubicBezTo>
                  <a:pt x="118" y="131"/>
                  <a:pt x="120" y="137"/>
                  <a:pt x="126" y="139"/>
                </a:cubicBezTo>
                <a:cubicBezTo>
                  <a:pt x="139" y="145"/>
                  <a:pt x="139" y="145"/>
                  <a:pt x="139" y="145"/>
                </a:cubicBezTo>
                <a:cubicBezTo>
                  <a:pt x="139" y="160"/>
                  <a:pt x="139" y="160"/>
                  <a:pt x="139" y="160"/>
                </a:cubicBezTo>
                <a:cubicBezTo>
                  <a:pt x="139" y="166"/>
                  <a:pt x="144" y="171"/>
                  <a:pt x="150" y="171"/>
                </a:cubicBezTo>
                <a:cubicBezTo>
                  <a:pt x="156" y="171"/>
                  <a:pt x="160" y="166"/>
                  <a:pt x="160" y="16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9" y="137"/>
                  <a:pt x="181" y="131"/>
                  <a:pt x="179" y="125"/>
                </a:cubicBezTo>
                <a:cubicBezTo>
                  <a:pt x="176" y="120"/>
                  <a:pt x="170" y="118"/>
                  <a:pt x="165" y="120"/>
                </a:cubicBezTo>
                <a:close/>
                <a:moveTo>
                  <a:pt x="231" y="89"/>
                </a:moveTo>
                <a:cubicBezTo>
                  <a:pt x="198" y="105"/>
                  <a:pt x="198" y="105"/>
                  <a:pt x="198" y="105"/>
                </a:cubicBezTo>
                <a:cubicBezTo>
                  <a:pt x="193" y="107"/>
                  <a:pt x="190" y="113"/>
                  <a:pt x="193" y="119"/>
                </a:cubicBezTo>
                <a:cubicBezTo>
                  <a:pt x="194" y="123"/>
                  <a:pt x="198" y="125"/>
                  <a:pt x="202" y="125"/>
                </a:cubicBezTo>
                <a:cubicBezTo>
                  <a:pt x="204" y="125"/>
                  <a:pt x="205" y="125"/>
                  <a:pt x="207" y="124"/>
                </a:cubicBezTo>
                <a:cubicBezTo>
                  <a:pt x="240" y="109"/>
                  <a:pt x="240" y="109"/>
                  <a:pt x="240" y="109"/>
                </a:cubicBezTo>
                <a:cubicBezTo>
                  <a:pt x="245" y="106"/>
                  <a:pt x="248" y="100"/>
                  <a:pt x="245" y="95"/>
                </a:cubicBezTo>
                <a:cubicBezTo>
                  <a:pt x="243" y="89"/>
                  <a:pt x="237" y="87"/>
                  <a:pt x="231" y="89"/>
                </a:cubicBezTo>
                <a:close/>
                <a:moveTo>
                  <a:pt x="293" y="65"/>
                </a:moveTo>
                <a:cubicBezTo>
                  <a:pt x="273" y="56"/>
                  <a:pt x="273" y="56"/>
                  <a:pt x="273" y="56"/>
                </a:cubicBezTo>
                <a:cubicBezTo>
                  <a:pt x="268" y="54"/>
                  <a:pt x="262" y="56"/>
                  <a:pt x="259" y="61"/>
                </a:cubicBezTo>
                <a:cubicBezTo>
                  <a:pt x="257" y="66"/>
                  <a:pt x="259" y="72"/>
                  <a:pt x="263" y="75"/>
                </a:cubicBezTo>
                <a:cubicBezTo>
                  <a:pt x="259" y="78"/>
                  <a:pt x="257" y="83"/>
                  <a:pt x="259" y="88"/>
                </a:cubicBezTo>
                <a:cubicBezTo>
                  <a:pt x="261" y="92"/>
                  <a:pt x="265" y="94"/>
                  <a:pt x="269" y="94"/>
                </a:cubicBezTo>
                <a:cubicBezTo>
                  <a:pt x="270" y="94"/>
                  <a:pt x="272" y="94"/>
                  <a:pt x="273" y="93"/>
                </a:cubicBezTo>
                <a:cubicBezTo>
                  <a:pt x="278" y="91"/>
                  <a:pt x="278" y="91"/>
                  <a:pt x="278" y="91"/>
                </a:cubicBezTo>
                <a:cubicBezTo>
                  <a:pt x="278" y="96"/>
                  <a:pt x="278" y="96"/>
                  <a:pt x="278" y="96"/>
                </a:cubicBezTo>
                <a:cubicBezTo>
                  <a:pt x="278" y="102"/>
                  <a:pt x="282" y="107"/>
                  <a:pt x="288" y="107"/>
                </a:cubicBezTo>
                <a:cubicBezTo>
                  <a:pt x="294" y="107"/>
                  <a:pt x="299" y="102"/>
                  <a:pt x="299" y="96"/>
                </a:cubicBezTo>
                <a:cubicBezTo>
                  <a:pt x="299" y="75"/>
                  <a:pt x="299" y="75"/>
                  <a:pt x="299" y="75"/>
                </a:cubicBezTo>
                <a:cubicBezTo>
                  <a:pt x="299" y="71"/>
                  <a:pt x="297" y="67"/>
                  <a:pt x="293" y="65"/>
                </a:cubicBezTo>
                <a:close/>
                <a:moveTo>
                  <a:pt x="240" y="41"/>
                </a:moveTo>
                <a:cubicBezTo>
                  <a:pt x="207" y="25"/>
                  <a:pt x="207" y="25"/>
                  <a:pt x="207" y="25"/>
                </a:cubicBezTo>
                <a:cubicBezTo>
                  <a:pt x="201" y="23"/>
                  <a:pt x="195" y="25"/>
                  <a:pt x="193" y="31"/>
                </a:cubicBezTo>
                <a:cubicBezTo>
                  <a:pt x="190" y="36"/>
                  <a:pt x="193" y="42"/>
                  <a:pt x="198" y="45"/>
                </a:cubicBezTo>
                <a:cubicBezTo>
                  <a:pt x="231" y="60"/>
                  <a:pt x="231" y="60"/>
                  <a:pt x="231" y="60"/>
                </a:cubicBezTo>
                <a:cubicBezTo>
                  <a:pt x="233" y="61"/>
                  <a:pt x="234" y="61"/>
                  <a:pt x="236" y="61"/>
                </a:cubicBezTo>
                <a:cubicBezTo>
                  <a:pt x="240" y="61"/>
                  <a:pt x="244" y="59"/>
                  <a:pt x="245" y="55"/>
                </a:cubicBezTo>
                <a:cubicBezTo>
                  <a:pt x="248" y="49"/>
                  <a:pt x="245" y="43"/>
                  <a:pt x="240" y="41"/>
                </a:cubicBezTo>
                <a:close/>
                <a:moveTo>
                  <a:pt x="11" y="171"/>
                </a:moveTo>
                <a:cubicBezTo>
                  <a:pt x="17" y="171"/>
                  <a:pt x="22" y="166"/>
                  <a:pt x="22" y="160"/>
                </a:cubicBezTo>
                <a:cubicBezTo>
                  <a:pt x="22" y="128"/>
                  <a:pt x="22" y="128"/>
                  <a:pt x="22" y="128"/>
                </a:cubicBezTo>
                <a:cubicBezTo>
                  <a:pt x="22" y="122"/>
                  <a:pt x="17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6"/>
                  <a:pt x="5" y="171"/>
                  <a:pt x="11" y="171"/>
                </a:cubicBezTo>
                <a:close/>
                <a:moveTo>
                  <a:pt x="35" y="214"/>
                </a:moveTo>
                <a:cubicBezTo>
                  <a:pt x="22" y="207"/>
                  <a:pt x="22" y="207"/>
                  <a:pt x="22" y="207"/>
                </a:cubicBezTo>
                <a:cubicBezTo>
                  <a:pt x="22" y="192"/>
                  <a:pt x="22" y="192"/>
                  <a:pt x="22" y="192"/>
                </a:cubicBezTo>
                <a:cubicBezTo>
                  <a:pt x="22" y="186"/>
                  <a:pt x="17" y="181"/>
                  <a:pt x="11" y="181"/>
                </a:cubicBezTo>
                <a:cubicBezTo>
                  <a:pt x="5" y="181"/>
                  <a:pt x="0" y="186"/>
                  <a:pt x="0" y="192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217"/>
                  <a:pt x="2" y="221"/>
                  <a:pt x="6" y="223"/>
                </a:cubicBezTo>
                <a:cubicBezTo>
                  <a:pt x="25" y="233"/>
                  <a:pt x="25" y="233"/>
                  <a:pt x="25" y="233"/>
                </a:cubicBezTo>
                <a:cubicBezTo>
                  <a:pt x="26" y="234"/>
                  <a:pt x="28" y="234"/>
                  <a:pt x="30" y="234"/>
                </a:cubicBezTo>
                <a:cubicBezTo>
                  <a:pt x="34" y="234"/>
                  <a:pt x="37" y="232"/>
                  <a:pt x="39" y="229"/>
                </a:cubicBezTo>
                <a:cubicBezTo>
                  <a:pt x="42" y="223"/>
                  <a:pt x="40" y="217"/>
                  <a:pt x="35" y="214"/>
                </a:cubicBezTo>
                <a:close/>
                <a:moveTo>
                  <a:pt x="102" y="250"/>
                </a:moveTo>
                <a:cubicBezTo>
                  <a:pt x="69" y="232"/>
                  <a:pt x="69" y="232"/>
                  <a:pt x="69" y="232"/>
                </a:cubicBezTo>
                <a:cubicBezTo>
                  <a:pt x="63" y="229"/>
                  <a:pt x="57" y="231"/>
                  <a:pt x="54" y="237"/>
                </a:cubicBezTo>
                <a:cubicBezTo>
                  <a:pt x="51" y="242"/>
                  <a:pt x="53" y="248"/>
                  <a:pt x="58" y="251"/>
                </a:cubicBezTo>
                <a:cubicBezTo>
                  <a:pt x="92" y="269"/>
                  <a:pt x="92" y="269"/>
                  <a:pt x="92" y="269"/>
                </a:cubicBezTo>
                <a:cubicBezTo>
                  <a:pt x="94" y="270"/>
                  <a:pt x="95" y="270"/>
                  <a:pt x="97" y="270"/>
                </a:cubicBezTo>
                <a:cubicBezTo>
                  <a:pt x="101" y="270"/>
                  <a:pt x="105" y="268"/>
                  <a:pt x="107" y="265"/>
                </a:cubicBezTo>
                <a:cubicBezTo>
                  <a:pt x="109" y="260"/>
                  <a:pt x="107" y="253"/>
                  <a:pt x="102" y="250"/>
                </a:cubicBezTo>
                <a:close/>
                <a:moveTo>
                  <a:pt x="150" y="245"/>
                </a:moveTo>
                <a:cubicBezTo>
                  <a:pt x="156" y="245"/>
                  <a:pt x="160" y="241"/>
                  <a:pt x="160" y="235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0" y="197"/>
                  <a:pt x="156" y="192"/>
                  <a:pt x="150" y="192"/>
                </a:cubicBezTo>
                <a:cubicBezTo>
                  <a:pt x="144" y="192"/>
                  <a:pt x="139" y="197"/>
                  <a:pt x="139" y="203"/>
                </a:cubicBezTo>
                <a:cubicBezTo>
                  <a:pt x="139" y="235"/>
                  <a:pt x="139" y="235"/>
                  <a:pt x="139" y="235"/>
                </a:cubicBezTo>
                <a:cubicBezTo>
                  <a:pt x="139" y="241"/>
                  <a:pt x="144" y="245"/>
                  <a:pt x="150" y="245"/>
                </a:cubicBezTo>
                <a:close/>
                <a:moveTo>
                  <a:pt x="165" y="269"/>
                </a:moveTo>
                <a:cubicBezTo>
                  <a:pt x="160" y="271"/>
                  <a:pt x="160" y="271"/>
                  <a:pt x="160" y="271"/>
                </a:cubicBezTo>
                <a:cubicBezTo>
                  <a:pt x="160" y="267"/>
                  <a:pt x="160" y="267"/>
                  <a:pt x="160" y="267"/>
                </a:cubicBezTo>
                <a:cubicBezTo>
                  <a:pt x="160" y="261"/>
                  <a:pt x="156" y="256"/>
                  <a:pt x="150" y="256"/>
                </a:cubicBezTo>
                <a:cubicBezTo>
                  <a:pt x="144" y="256"/>
                  <a:pt x="139" y="261"/>
                  <a:pt x="139" y="267"/>
                </a:cubicBezTo>
                <a:cubicBezTo>
                  <a:pt x="139" y="270"/>
                  <a:pt x="139" y="270"/>
                  <a:pt x="139" y="270"/>
                </a:cubicBezTo>
                <a:cubicBezTo>
                  <a:pt x="136" y="268"/>
                  <a:pt x="136" y="268"/>
                  <a:pt x="136" y="268"/>
                </a:cubicBezTo>
                <a:cubicBezTo>
                  <a:pt x="131" y="266"/>
                  <a:pt x="124" y="268"/>
                  <a:pt x="121" y="273"/>
                </a:cubicBezTo>
                <a:cubicBezTo>
                  <a:pt x="119" y="278"/>
                  <a:pt x="121" y="284"/>
                  <a:pt x="126" y="287"/>
                </a:cubicBezTo>
                <a:cubicBezTo>
                  <a:pt x="145" y="297"/>
                  <a:pt x="145" y="297"/>
                  <a:pt x="145" y="297"/>
                </a:cubicBezTo>
                <a:cubicBezTo>
                  <a:pt x="146" y="298"/>
                  <a:pt x="148" y="299"/>
                  <a:pt x="150" y="299"/>
                </a:cubicBezTo>
                <a:cubicBezTo>
                  <a:pt x="151" y="299"/>
                  <a:pt x="153" y="298"/>
                  <a:pt x="154" y="298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74" y="289"/>
                  <a:pt x="174" y="289"/>
                  <a:pt x="174" y="289"/>
                </a:cubicBezTo>
                <a:cubicBezTo>
                  <a:pt x="179" y="286"/>
                  <a:pt x="181" y="280"/>
                  <a:pt x="179" y="275"/>
                </a:cubicBezTo>
                <a:cubicBezTo>
                  <a:pt x="176" y="269"/>
                  <a:pt x="170" y="267"/>
                  <a:pt x="165" y="269"/>
                </a:cubicBezTo>
                <a:close/>
                <a:moveTo>
                  <a:pt x="231" y="239"/>
                </a:moveTo>
                <a:cubicBezTo>
                  <a:pt x="198" y="254"/>
                  <a:pt x="198" y="254"/>
                  <a:pt x="198" y="254"/>
                </a:cubicBezTo>
                <a:cubicBezTo>
                  <a:pt x="193" y="256"/>
                  <a:pt x="190" y="263"/>
                  <a:pt x="193" y="268"/>
                </a:cubicBezTo>
                <a:cubicBezTo>
                  <a:pt x="194" y="272"/>
                  <a:pt x="198" y="274"/>
                  <a:pt x="202" y="274"/>
                </a:cubicBezTo>
                <a:cubicBezTo>
                  <a:pt x="204" y="274"/>
                  <a:pt x="205" y="274"/>
                  <a:pt x="207" y="273"/>
                </a:cubicBezTo>
                <a:cubicBezTo>
                  <a:pt x="240" y="258"/>
                  <a:pt x="240" y="258"/>
                  <a:pt x="240" y="258"/>
                </a:cubicBezTo>
                <a:cubicBezTo>
                  <a:pt x="245" y="256"/>
                  <a:pt x="248" y="249"/>
                  <a:pt x="245" y="244"/>
                </a:cubicBezTo>
                <a:cubicBezTo>
                  <a:pt x="243" y="238"/>
                  <a:pt x="237" y="236"/>
                  <a:pt x="231" y="239"/>
                </a:cubicBezTo>
                <a:close/>
                <a:moveTo>
                  <a:pt x="288" y="192"/>
                </a:moveTo>
                <a:cubicBezTo>
                  <a:pt x="282" y="192"/>
                  <a:pt x="278" y="197"/>
                  <a:pt x="278" y="203"/>
                </a:cubicBezTo>
                <a:cubicBezTo>
                  <a:pt x="278" y="217"/>
                  <a:pt x="278" y="217"/>
                  <a:pt x="278" y="217"/>
                </a:cubicBezTo>
                <a:cubicBezTo>
                  <a:pt x="264" y="223"/>
                  <a:pt x="264" y="223"/>
                  <a:pt x="264" y="223"/>
                </a:cubicBezTo>
                <a:cubicBezTo>
                  <a:pt x="259" y="226"/>
                  <a:pt x="257" y="232"/>
                  <a:pt x="259" y="237"/>
                </a:cubicBezTo>
                <a:cubicBezTo>
                  <a:pt x="261" y="241"/>
                  <a:pt x="265" y="244"/>
                  <a:pt x="269" y="244"/>
                </a:cubicBezTo>
                <a:cubicBezTo>
                  <a:pt x="270" y="244"/>
                  <a:pt x="272" y="243"/>
                  <a:pt x="273" y="243"/>
                </a:cubicBezTo>
                <a:cubicBezTo>
                  <a:pt x="293" y="234"/>
                  <a:pt x="293" y="234"/>
                  <a:pt x="293" y="234"/>
                </a:cubicBezTo>
                <a:cubicBezTo>
                  <a:pt x="297" y="232"/>
                  <a:pt x="299" y="228"/>
                  <a:pt x="299" y="224"/>
                </a:cubicBezTo>
                <a:cubicBezTo>
                  <a:pt x="299" y="203"/>
                  <a:pt x="299" y="203"/>
                  <a:pt x="299" y="203"/>
                </a:cubicBezTo>
                <a:cubicBezTo>
                  <a:pt x="299" y="197"/>
                  <a:pt x="294" y="192"/>
                  <a:pt x="288" y="192"/>
                </a:cubicBezTo>
                <a:close/>
                <a:moveTo>
                  <a:pt x="288" y="128"/>
                </a:moveTo>
                <a:cubicBezTo>
                  <a:pt x="282" y="128"/>
                  <a:pt x="278" y="133"/>
                  <a:pt x="278" y="139"/>
                </a:cubicBezTo>
                <a:cubicBezTo>
                  <a:pt x="278" y="171"/>
                  <a:pt x="278" y="171"/>
                  <a:pt x="278" y="171"/>
                </a:cubicBezTo>
                <a:cubicBezTo>
                  <a:pt x="278" y="177"/>
                  <a:pt x="282" y="181"/>
                  <a:pt x="288" y="181"/>
                </a:cubicBezTo>
                <a:cubicBezTo>
                  <a:pt x="294" y="181"/>
                  <a:pt x="299" y="177"/>
                  <a:pt x="299" y="171"/>
                </a:cubicBezTo>
                <a:cubicBezTo>
                  <a:pt x="299" y="139"/>
                  <a:pt x="299" y="139"/>
                  <a:pt x="299" y="139"/>
                </a:cubicBezTo>
                <a:cubicBezTo>
                  <a:pt x="299" y="133"/>
                  <a:pt x="294" y="128"/>
                  <a:pt x="288" y="1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23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1" name="object 8">
            <a:extLst>
              <a:ext uri="{FF2B5EF4-FFF2-40B4-BE49-F238E27FC236}">
                <a16:creationId xmlns:a16="http://schemas.microsoft.com/office/drawing/2014/main" id="{2EF9C614-E81E-43B3-9EAD-7E89DD7ACF37}"/>
              </a:ext>
            </a:extLst>
          </p:cNvPr>
          <p:cNvSpPr/>
          <p:nvPr/>
        </p:nvSpPr>
        <p:spPr>
          <a:xfrm rot="21443987">
            <a:off x="6487249" y="1641790"/>
            <a:ext cx="152459" cy="392168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85800">
              <a:defRPr/>
            </a:pPr>
            <a:endParaRPr lang="nb-NO" sz="1350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212" name="object 43">
            <a:extLst>
              <a:ext uri="{FF2B5EF4-FFF2-40B4-BE49-F238E27FC236}">
                <a16:creationId xmlns:a16="http://schemas.microsoft.com/office/drawing/2014/main" id="{00D1FD21-BC6D-4F3F-9E1D-6C73142B4F3E}"/>
              </a:ext>
            </a:extLst>
          </p:cNvPr>
          <p:cNvSpPr/>
          <p:nvPr/>
        </p:nvSpPr>
        <p:spPr>
          <a:xfrm rot="1751069">
            <a:off x="6661339" y="1801104"/>
            <a:ext cx="108857" cy="118564"/>
          </a:xfrm>
          <a:prstGeom prst="rect">
            <a:avLst/>
          </a:prstGeom>
          <a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85800">
              <a:defRPr/>
            </a:pPr>
            <a:endParaRPr lang="nb-NO" sz="1350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215" name="Freeform 22">
            <a:extLst>
              <a:ext uri="{FF2B5EF4-FFF2-40B4-BE49-F238E27FC236}">
                <a16:creationId xmlns:a16="http://schemas.microsoft.com/office/drawing/2014/main" id="{03378508-31A1-4133-B83A-AA449C1B36F1}"/>
              </a:ext>
            </a:extLst>
          </p:cNvPr>
          <p:cNvSpPr>
            <a:spLocks noEditPoints="1"/>
          </p:cNvSpPr>
          <p:nvPr/>
        </p:nvSpPr>
        <p:spPr bwMode="auto">
          <a:xfrm>
            <a:off x="5005229" y="2170051"/>
            <a:ext cx="221687" cy="220440"/>
          </a:xfrm>
          <a:custGeom>
            <a:avLst/>
            <a:gdLst>
              <a:gd name="T0" fmla="*/ 239 w 241"/>
              <a:gd name="T1" fmla="*/ 54 h 241"/>
              <a:gd name="T2" fmla="*/ 236 w 241"/>
              <a:gd name="T3" fmla="*/ 42 h 241"/>
              <a:gd name="T4" fmla="*/ 146 w 241"/>
              <a:gd name="T5" fmla="*/ 4 h 241"/>
              <a:gd name="T6" fmla="*/ 95 w 241"/>
              <a:gd name="T7" fmla="*/ 4 h 241"/>
              <a:gd name="T8" fmla="*/ 5 w 241"/>
              <a:gd name="T9" fmla="*/ 42 h 241"/>
              <a:gd name="T10" fmla="*/ 2 w 241"/>
              <a:gd name="T11" fmla="*/ 54 h 241"/>
              <a:gd name="T12" fmla="*/ 2 w 241"/>
              <a:gd name="T13" fmla="*/ 124 h 241"/>
              <a:gd name="T14" fmla="*/ 5 w 241"/>
              <a:gd name="T15" fmla="*/ 136 h 241"/>
              <a:gd name="T16" fmla="*/ 33 w 241"/>
              <a:gd name="T17" fmla="*/ 193 h 241"/>
              <a:gd name="T18" fmla="*/ 117 w 241"/>
              <a:gd name="T19" fmla="*/ 240 h 241"/>
              <a:gd name="T20" fmla="*/ 121 w 241"/>
              <a:gd name="T21" fmla="*/ 241 h 241"/>
              <a:gd name="T22" fmla="*/ 124 w 241"/>
              <a:gd name="T23" fmla="*/ 240 h 241"/>
              <a:gd name="T24" fmla="*/ 209 w 241"/>
              <a:gd name="T25" fmla="*/ 193 h 241"/>
              <a:gd name="T26" fmla="*/ 236 w 241"/>
              <a:gd name="T27" fmla="*/ 136 h 241"/>
              <a:gd name="T28" fmla="*/ 239 w 241"/>
              <a:gd name="T29" fmla="*/ 124 h 241"/>
              <a:gd name="T30" fmla="*/ 155 w 241"/>
              <a:gd name="T31" fmla="*/ 19 h 241"/>
              <a:gd name="T32" fmla="*/ 198 w 241"/>
              <a:gd name="T33" fmla="*/ 79 h 241"/>
              <a:gd name="T34" fmla="*/ 155 w 241"/>
              <a:gd name="T35" fmla="*/ 19 h 241"/>
              <a:gd name="T36" fmla="*/ 59 w 241"/>
              <a:gd name="T37" fmla="*/ 89 h 241"/>
              <a:gd name="T38" fmla="*/ 183 w 241"/>
              <a:gd name="T39" fmla="*/ 89 h 241"/>
              <a:gd name="T40" fmla="*/ 21 w 241"/>
              <a:gd name="T41" fmla="*/ 51 h 241"/>
              <a:gd name="T42" fmla="*/ 108 w 241"/>
              <a:gd name="T43" fmla="*/ 46 h 241"/>
              <a:gd name="T44" fmla="*/ 21 w 241"/>
              <a:gd name="T45" fmla="*/ 51 h 241"/>
              <a:gd name="T46" fmla="*/ 108 w 241"/>
              <a:gd name="T47" fmla="*/ 131 h 241"/>
              <a:gd name="T48" fmla="*/ 44 w 241"/>
              <a:gd name="T49" fmla="*/ 137 h 241"/>
              <a:gd name="T50" fmla="*/ 21 w 241"/>
              <a:gd name="T51" fmla="*/ 126 h 241"/>
              <a:gd name="T52" fmla="*/ 49 w 241"/>
              <a:gd name="T53" fmla="*/ 158 h 241"/>
              <a:gd name="T54" fmla="*/ 95 w 241"/>
              <a:gd name="T55" fmla="*/ 174 h 241"/>
              <a:gd name="T56" fmla="*/ 113 w 241"/>
              <a:gd name="T57" fmla="*/ 220 h 241"/>
              <a:gd name="T58" fmla="*/ 49 w 241"/>
              <a:gd name="T59" fmla="*/ 158 h 241"/>
              <a:gd name="T60" fmla="*/ 129 w 241"/>
              <a:gd name="T61" fmla="*/ 220 h 241"/>
              <a:gd name="T62" fmla="*/ 146 w 241"/>
              <a:gd name="T63" fmla="*/ 174 h 241"/>
              <a:gd name="T64" fmla="*/ 150 w 241"/>
              <a:gd name="T65" fmla="*/ 176 h 241"/>
              <a:gd name="T66" fmla="*/ 153 w 241"/>
              <a:gd name="T67" fmla="*/ 177 h 241"/>
              <a:gd name="T68" fmla="*/ 156 w 241"/>
              <a:gd name="T69" fmla="*/ 176 h 241"/>
              <a:gd name="T70" fmla="*/ 193 w 241"/>
              <a:gd name="T71" fmla="*/ 188 h 241"/>
              <a:gd name="T72" fmla="*/ 197 w 241"/>
              <a:gd name="T73" fmla="*/ 137 h 241"/>
              <a:gd name="T74" fmla="*/ 133 w 241"/>
              <a:gd name="T75" fmla="*/ 131 h 241"/>
              <a:gd name="T76" fmla="*/ 220 w 241"/>
              <a:gd name="T77" fmla="*/ 125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1" h="241">
                <a:moveTo>
                  <a:pt x="211" y="89"/>
                </a:moveTo>
                <a:cubicBezTo>
                  <a:pt x="239" y="54"/>
                  <a:pt x="239" y="54"/>
                  <a:pt x="239" y="54"/>
                </a:cubicBezTo>
                <a:cubicBezTo>
                  <a:pt x="240" y="52"/>
                  <a:pt x="241" y="49"/>
                  <a:pt x="240" y="47"/>
                </a:cubicBezTo>
                <a:cubicBezTo>
                  <a:pt x="240" y="45"/>
                  <a:pt x="238" y="43"/>
                  <a:pt x="236" y="42"/>
                </a:cubicBezTo>
                <a:cubicBezTo>
                  <a:pt x="156" y="2"/>
                  <a:pt x="156" y="2"/>
                  <a:pt x="156" y="2"/>
                </a:cubicBezTo>
                <a:cubicBezTo>
                  <a:pt x="153" y="0"/>
                  <a:pt x="149" y="1"/>
                  <a:pt x="146" y="4"/>
                </a:cubicBezTo>
                <a:cubicBezTo>
                  <a:pt x="121" y="36"/>
                  <a:pt x="121" y="36"/>
                  <a:pt x="121" y="36"/>
                </a:cubicBezTo>
                <a:cubicBezTo>
                  <a:pt x="95" y="4"/>
                  <a:pt x="95" y="4"/>
                  <a:pt x="95" y="4"/>
                </a:cubicBezTo>
                <a:cubicBezTo>
                  <a:pt x="93" y="1"/>
                  <a:pt x="88" y="0"/>
                  <a:pt x="85" y="2"/>
                </a:cubicBezTo>
                <a:cubicBezTo>
                  <a:pt x="5" y="42"/>
                  <a:pt x="5" y="42"/>
                  <a:pt x="5" y="42"/>
                </a:cubicBezTo>
                <a:cubicBezTo>
                  <a:pt x="3" y="43"/>
                  <a:pt x="1" y="45"/>
                  <a:pt x="1" y="47"/>
                </a:cubicBezTo>
                <a:cubicBezTo>
                  <a:pt x="0" y="49"/>
                  <a:pt x="1" y="52"/>
                  <a:pt x="2" y="54"/>
                </a:cubicBezTo>
                <a:cubicBezTo>
                  <a:pt x="30" y="89"/>
                  <a:pt x="30" y="89"/>
                  <a:pt x="30" y="89"/>
                </a:cubicBezTo>
                <a:cubicBezTo>
                  <a:pt x="2" y="124"/>
                  <a:pt x="2" y="124"/>
                  <a:pt x="2" y="124"/>
                </a:cubicBezTo>
                <a:cubicBezTo>
                  <a:pt x="1" y="126"/>
                  <a:pt x="0" y="128"/>
                  <a:pt x="1" y="130"/>
                </a:cubicBezTo>
                <a:cubicBezTo>
                  <a:pt x="1" y="133"/>
                  <a:pt x="3" y="135"/>
                  <a:pt x="5" y="136"/>
                </a:cubicBezTo>
                <a:cubicBezTo>
                  <a:pt x="33" y="150"/>
                  <a:pt x="33" y="150"/>
                  <a:pt x="33" y="150"/>
                </a:cubicBezTo>
                <a:cubicBezTo>
                  <a:pt x="33" y="193"/>
                  <a:pt x="33" y="193"/>
                  <a:pt x="33" y="193"/>
                </a:cubicBezTo>
                <a:cubicBezTo>
                  <a:pt x="33" y="196"/>
                  <a:pt x="34" y="198"/>
                  <a:pt x="37" y="200"/>
                </a:cubicBezTo>
                <a:cubicBezTo>
                  <a:pt x="117" y="240"/>
                  <a:pt x="117" y="240"/>
                  <a:pt x="117" y="240"/>
                </a:cubicBezTo>
                <a:cubicBezTo>
                  <a:pt x="117" y="240"/>
                  <a:pt x="117" y="240"/>
                  <a:pt x="117" y="240"/>
                </a:cubicBezTo>
                <a:cubicBezTo>
                  <a:pt x="118" y="240"/>
                  <a:pt x="120" y="241"/>
                  <a:pt x="121" y="241"/>
                </a:cubicBezTo>
                <a:cubicBezTo>
                  <a:pt x="122" y="241"/>
                  <a:pt x="123" y="240"/>
                  <a:pt x="124" y="240"/>
                </a:cubicBezTo>
                <a:cubicBezTo>
                  <a:pt x="124" y="240"/>
                  <a:pt x="124" y="240"/>
                  <a:pt x="124" y="240"/>
                </a:cubicBezTo>
                <a:cubicBezTo>
                  <a:pt x="204" y="200"/>
                  <a:pt x="204" y="200"/>
                  <a:pt x="204" y="200"/>
                </a:cubicBezTo>
                <a:cubicBezTo>
                  <a:pt x="207" y="198"/>
                  <a:pt x="209" y="196"/>
                  <a:pt x="209" y="193"/>
                </a:cubicBezTo>
                <a:cubicBezTo>
                  <a:pt x="209" y="150"/>
                  <a:pt x="209" y="150"/>
                  <a:pt x="209" y="150"/>
                </a:cubicBezTo>
                <a:cubicBezTo>
                  <a:pt x="236" y="136"/>
                  <a:pt x="236" y="136"/>
                  <a:pt x="236" y="136"/>
                </a:cubicBezTo>
                <a:cubicBezTo>
                  <a:pt x="238" y="135"/>
                  <a:pt x="240" y="133"/>
                  <a:pt x="240" y="130"/>
                </a:cubicBezTo>
                <a:cubicBezTo>
                  <a:pt x="241" y="128"/>
                  <a:pt x="240" y="126"/>
                  <a:pt x="239" y="124"/>
                </a:cubicBezTo>
                <a:lnTo>
                  <a:pt x="211" y="89"/>
                </a:lnTo>
                <a:close/>
                <a:moveTo>
                  <a:pt x="155" y="19"/>
                </a:moveTo>
                <a:cubicBezTo>
                  <a:pt x="220" y="51"/>
                  <a:pt x="220" y="51"/>
                  <a:pt x="220" y="51"/>
                </a:cubicBezTo>
                <a:cubicBezTo>
                  <a:pt x="198" y="79"/>
                  <a:pt x="198" y="79"/>
                  <a:pt x="198" y="79"/>
                </a:cubicBezTo>
                <a:cubicBezTo>
                  <a:pt x="133" y="46"/>
                  <a:pt x="133" y="46"/>
                  <a:pt x="133" y="46"/>
                </a:cubicBezTo>
                <a:lnTo>
                  <a:pt x="155" y="19"/>
                </a:lnTo>
                <a:close/>
                <a:moveTo>
                  <a:pt x="121" y="120"/>
                </a:moveTo>
                <a:cubicBezTo>
                  <a:pt x="59" y="89"/>
                  <a:pt x="59" y="89"/>
                  <a:pt x="59" y="89"/>
                </a:cubicBezTo>
                <a:cubicBezTo>
                  <a:pt x="121" y="58"/>
                  <a:pt x="121" y="58"/>
                  <a:pt x="121" y="58"/>
                </a:cubicBezTo>
                <a:cubicBezTo>
                  <a:pt x="183" y="89"/>
                  <a:pt x="183" y="89"/>
                  <a:pt x="183" y="89"/>
                </a:cubicBezTo>
                <a:lnTo>
                  <a:pt x="121" y="120"/>
                </a:lnTo>
                <a:close/>
                <a:moveTo>
                  <a:pt x="21" y="51"/>
                </a:moveTo>
                <a:cubicBezTo>
                  <a:pt x="86" y="19"/>
                  <a:pt x="86" y="19"/>
                  <a:pt x="86" y="19"/>
                </a:cubicBezTo>
                <a:cubicBezTo>
                  <a:pt x="108" y="46"/>
                  <a:pt x="108" y="46"/>
                  <a:pt x="108" y="46"/>
                </a:cubicBezTo>
                <a:cubicBezTo>
                  <a:pt x="43" y="79"/>
                  <a:pt x="43" y="79"/>
                  <a:pt x="43" y="79"/>
                </a:cubicBezTo>
                <a:lnTo>
                  <a:pt x="21" y="51"/>
                </a:lnTo>
                <a:close/>
                <a:moveTo>
                  <a:pt x="43" y="99"/>
                </a:moveTo>
                <a:cubicBezTo>
                  <a:pt x="108" y="131"/>
                  <a:pt x="108" y="131"/>
                  <a:pt x="108" y="131"/>
                </a:cubicBezTo>
                <a:cubicBezTo>
                  <a:pt x="86" y="158"/>
                  <a:pt x="86" y="158"/>
                  <a:pt x="86" y="158"/>
                </a:cubicBezTo>
                <a:cubicBezTo>
                  <a:pt x="44" y="137"/>
                  <a:pt x="44" y="137"/>
                  <a:pt x="44" y="137"/>
                </a:cubicBezTo>
                <a:cubicBezTo>
                  <a:pt x="44" y="137"/>
                  <a:pt x="44" y="137"/>
                  <a:pt x="44" y="137"/>
                </a:cubicBezTo>
                <a:cubicBezTo>
                  <a:pt x="21" y="126"/>
                  <a:pt x="21" y="126"/>
                  <a:pt x="21" y="126"/>
                </a:cubicBezTo>
                <a:lnTo>
                  <a:pt x="43" y="99"/>
                </a:lnTo>
                <a:close/>
                <a:moveTo>
                  <a:pt x="49" y="158"/>
                </a:moveTo>
                <a:cubicBezTo>
                  <a:pt x="85" y="176"/>
                  <a:pt x="85" y="176"/>
                  <a:pt x="85" y="176"/>
                </a:cubicBezTo>
                <a:cubicBezTo>
                  <a:pt x="88" y="178"/>
                  <a:pt x="93" y="177"/>
                  <a:pt x="95" y="174"/>
                </a:cubicBezTo>
                <a:cubicBezTo>
                  <a:pt x="113" y="151"/>
                  <a:pt x="113" y="151"/>
                  <a:pt x="113" y="151"/>
                </a:cubicBezTo>
                <a:cubicBezTo>
                  <a:pt x="113" y="220"/>
                  <a:pt x="113" y="220"/>
                  <a:pt x="113" y="220"/>
                </a:cubicBezTo>
                <a:cubicBezTo>
                  <a:pt x="49" y="188"/>
                  <a:pt x="49" y="188"/>
                  <a:pt x="49" y="188"/>
                </a:cubicBezTo>
                <a:lnTo>
                  <a:pt x="49" y="158"/>
                </a:lnTo>
                <a:close/>
                <a:moveTo>
                  <a:pt x="193" y="188"/>
                </a:moveTo>
                <a:cubicBezTo>
                  <a:pt x="129" y="220"/>
                  <a:pt x="129" y="220"/>
                  <a:pt x="129" y="220"/>
                </a:cubicBezTo>
                <a:cubicBezTo>
                  <a:pt x="129" y="151"/>
                  <a:pt x="129" y="151"/>
                  <a:pt x="129" y="151"/>
                </a:cubicBezTo>
                <a:cubicBezTo>
                  <a:pt x="146" y="174"/>
                  <a:pt x="146" y="174"/>
                  <a:pt x="146" y="174"/>
                </a:cubicBezTo>
                <a:cubicBezTo>
                  <a:pt x="147" y="175"/>
                  <a:pt x="148" y="175"/>
                  <a:pt x="149" y="176"/>
                </a:cubicBezTo>
                <a:cubicBezTo>
                  <a:pt x="149" y="176"/>
                  <a:pt x="150" y="176"/>
                  <a:pt x="150" y="176"/>
                </a:cubicBezTo>
                <a:cubicBezTo>
                  <a:pt x="151" y="176"/>
                  <a:pt x="151" y="176"/>
                  <a:pt x="152" y="177"/>
                </a:cubicBezTo>
                <a:cubicBezTo>
                  <a:pt x="152" y="177"/>
                  <a:pt x="152" y="177"/>
                  <a:pt x="153" y="177"/>
                </a:cubicBezTo>
                <a:cubicBezTo>
                  <a:pt x="153" y="177"/>
                  <a:pt x="153" y="177"/>
                  <a:pt x="153" y="177"/>
                </a:cubicBezTo>
                <a:cubicBezTo>
                  <a:pt x="154" y="177"/>
                  <a:pt x="155" y="176"/>
                  <a:pt x="156" y="176"/>
                </a:cubicBezTo>
                <a:cubicBezTo>
                  <a:pt x="193" y="158"/>
                  <a:pt x="193" y="158"/>
                  <a:pt x="193" y="158"/>
                </a:cubicBezTo>
                <a:lnTo>
                  <a:pt x="193" y="188"/>
                </a:lnTo>
                <a:close/>
                <a:moveTo>
                  <a:pt x="197" y="137"/>
                </a:moveTo>
                <a:cubicBezTo>
                  <a:pt x="197" y="137"/>
                  <a:pt x="197" y="137"/>
                  <a:pt x="197" y="137"/>
                </a:cubicBezTo>
                <a:cubicBezTo>
                  <a:pt x="155" y="158"/>
                  <a:pt x="155" y="158"/>
                  <a:pt x="155" y="158"/>
                </a:cubicBezTo>
                <a:cubicBezTo>
                  <a:pt x="133" y="131"/>
                  <a:pt x="133" y="131"/>
                  <a:pt x="133" y="131"/>
                </a:cubicBezTo>
                <a:cubicBezTo>
                  <a:pt x="198" y="99"/>
                  <a:pt x="198" y="99"/>
                  <a:pt x="198" y="99"/>
                </a:cubicBezTo>
                <a:cubicBezTo>
                  <a:pt x="220" y="125"/>
                  <a:pt x="220" y="125"/>
                  <a:pt x="220" y="125"/>
                </a:cubicBezTo>
                <a:lnTo>
                  <a:pt x="197" y="13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rgbClr val="F7F7F7"/>
            </a:solidFill>
          </a:ln>
          <a:extLst>
            <a:ext uri="{91240B29-F687-4f45-9708-019B960494DF}">
              <a14:hiddenLine xmlns="" xmlns:p14="http://schemas.microsoft.com/office/powerpoint/2010/main" xmlns:mc="http://schemas.openxmlformats.org/markup-compatibility/2006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GB" sz="747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38" name="Picture 37" descr="Shape&#10;&#10;Description automatically generated">
            <a:extLst>
              <a:ext uri="{FF2B5EF4-FFF2-40B4-BE49-F238E27FC236}">
                <a16:creationId xmlns:a16="http://schemas.microsoft.com/office/drawing/2014/main" id="{133FCFC5-FD8D-4592-97FD-41CBC411BC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345373">
            <a:off x="5651863" y="3018876"/>
            <a:ext cx="844180" cy="659690"/>
          </a:xfrm>
          <a:prstGeom prst="rect">
            <a:avLst/>
          </a:prstGeom>
        </p:spPr>
      </p:pic>
      <p:sp>
        <p:nvSpPr>
          <p:cNvPr id="218" name="object 40">
            <a:extLst>
              <a:ext uri="{FF2B5EF4-FFF2-40B4-BE49-F238E27FC236}">
                <a16:creationId xmlns:a16="http://schemas.microsoft.com/office/drawing/2014/main" id="{2D3DEB16-C2B5-45B9-A8F1-48043C3EA981}"/>
              </a:ext>
            </a:extLst>
          </p:cNvPr>
          <p:cNvSpPr/>
          <p:nvPr/>
        </p:nvSpPr>
        <p:spPr>
          <a:xfrm>
            <a:off x="2042137" y="3444466"/>
            <a:ext cx="354785" cy="420032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85800">
              <a:defRPr/>
            </a:pPr>
            <a:endParaRPr sz="1350">
              <a:solidFill>
                <a:srgbClr val="5C5C5C"/>
              </a:solidFill>
              <a:latin typeface="Open Sans"/>
            </a:endParaRPr>
          </a:p>
        </p:txBody>
      </p:sp>
      <p:pic>
        <p:nvPicPr>
          <p:cNvPr id="216" name="Picture 215" descr="Shape&#10;&#10;Description automatically generated">
            <a:extLst>
              <a:ext uri="{FF2B5EF4-FFF2-40B4-BE49-F238E27FC236}">
                <a16:creationId xmlns:a16="http://schemas.microsoft.com/office/drawing/2014/main" id="{93C0F123-705A-4A48-994B-615B6D6AAFC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345373">
            <a:off x="2654606" y="3058272"/>
            <a:ext cx="844180" cy="659690"/>
          </a:xfrm>
          <a:prstGeom prst="rect">
            <a:avLst/>
          </a:prstGeom>
        </p:spPr>
      </p:pic>
      <p:grpSp>
        <p:nvGrpSpPr>
          <p:cNvPr id="219" name="Group 592">
            <a:extLst>
              <a:ext uri="{FF2B5EF4-FFF2-40B4-BE49-F238E27FC236}">
                <a16:creationId xmlns:a16="http://schemas.microsoft.com/office/drawing/2014/main" id="{33849F80-089F-45F6-90C6-DA7B25D6AF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47876" y="3544499"/>
            <a:ext cx="108318" cy="108001"/>
            <a:chOff x="373" y="1933"/>
            <a:chExt cx="341" cy="340"/>
          </a:xfrm>
          <a:solidFill>
            <a:schemeClr val="tx1"/>
          </a:solidFill>
        </p:grpSpPr>
        <p:sp>
          <p:nvSpPr>
            <p:cNvPr id="220" name="Freeform 2">
              <a:extLst>
                <a:ext uri="{FF2B5EF4-FFF2-40B4-BE49-F238E27FC236}">
                  <a16:creationId xmlns:a16="http://schemas.microsoft.com/office/drawing/2014/main" id="{3F7E8CC8-D3DC-4604-A4B2-6E8EC4B73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" y="2031"/>
              <a:ext cx="207" cy="157"/>
            </a:xfrm>
            <a:custGeom>
              <a:avLst/>
              <a:gdLst>
                <a:gd name="T0" fmla="*/ 307 w 311"/>
                <a:gd name="T1" fmla="*/ 4 h 236"/>
                <a:gd name="T2" fmla="*/ 292 w 311"/>
                <a:gd name="T3" fmla="*/ 4 h 236"/>
                <a:gd name="T4" fmla="*/ 86 w 311"/>
                <a:gd name="T5" fmla="*/ 210 h 236"/>
                <a:gd name="T6" fmla="*/ 19 w 311"/>
                <a:gd name="T7" fmla="*/ 143 h 236"/>
                <a:gd name="T8" fmla="*/ 4 w 311"/>
                <a:gd name="T9" fmla="*/ 143 h 236"/>
                <a:gd name="T10" fmla="*/ 4 w 311"/>
                <a:gd name="T11" fmla="*/ 158 h 236"/>
                <a:gd name="T12" fmla="*/ 78 w 311"/>
                <a:gd name="T13" fmla="*/ 233 h 236"/>
                <a:gd name="T14" fmla="*/ 86 w 311"/>
                <a:gd name="T15" fmla="*/ 236 h 236"/>
                <a:gd name="T16" fmla="*/ 94 w 311"/>
                <a:gd name="T17" fmla="*/ 233 h 236"/>
                <a:gd name="T18" fmla="*/ 307 w 311"/>
                <a:gd name="T19" fmla="*/ 19 h 236"/>
                <a:gd name="T20" fmla="*/ 307 w 311"/>
                <a:gd name="T21" fmla="*/ 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1" h="236">
                  <a:moveTo>
                    <a:pt x="307" y="4"/>
                  </a:moveTo>
                  <a:cubicBezTo>
                    <a:pt x="303" y="0"/>
                    <a:pt x="296" y="0"/>
                    <a:pt x="292" y="4"/>
                  </a:cubicBezTo>
                  <a:cubicBezTo>
                    <a:pt x="86" y="210"/>
                    <a:pt x="86" y="210"/>
                    <a:pt x="86" y="210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15" y="139"/>
                    <a:pt x="8" y="139"/>
                    <a:pt x="4" y="143"/>
                  </a:cubicBezTo>
                  <a:cubicBezTo>
                    <a:pt x="0" y="147"/>
                    <a:pt x="0" y="154"/>
                    <a:pt x="4" y="158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81" y="235"/>
                    <a:pt x="83" y="236"/>
                    <a:pt x="86" y="236"/>
                  </a:cubicBezTo>
                  <a:cubicBezTo>
                    <a:pt x="89" y="236"/>
                    <a:pt x="91" y="235"/>
                    <a:pt x="94" y="233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11" y="15"/>
                    <a:pt x="311" y="8"/>
                    <a:pt x="30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GB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1" name="Freeform 3">
              <a:extLst>
                <a:ext uri="{FF2B5EF4-FFF2-40B4-BE49-F238E27FC236}">
                  <a16:creationId xmlns:a16="http://schemas.microsoft.com/office/drawing/2014/main" id="{64095DCC-B2C9-48D3-8522-56D8263CF1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" y="1933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GB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8" name="Title 1">
            <a:extLst>
              <a:ext uri="{FF2B5EF4-FFF2-40B4-BE49-F238E27FC236}">
                <a16:creationId xmlns:a16="http://schemas.microsoft.com/office/drawing/2014/main" id="{17C1DD42-9D3B-4DE3-9F8C-BC74A034F238}"/>
              </a:ext>
            </a:extLst>
          </p:cNvPr>
          <p:cNvSpPr txBox="1">
            <a:spLocks/>
          </p:cNvSpPr>
          <p:nvPr/>
        </p:nvSpPr>
        <p:spPr>
          <a:xfrm>
            <a:off x="326573" y="205979"/>
            <a:ext cx="8381997" cy="40011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</a:t>
            </a:r>
            <a:r>
              <a:rPr kumimoji="0" lang="nb-NO" sz="2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Btb</a:t>
            </a: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-prosessen: Forenklet prosessflyt</a:t>
            </a:r>
          </a:p>
        </p:txBody>
      </p:sp>
    </p:spTree>
    <p:extLst>
      <p:ext uri="{BB962C8B-B14F-4D97-AF65-F5344CB8AC3E}">
        <p14:creationId xmlns:p14="http://schemas.microsoft.com/office/powerpoint/2010/main" val="106748216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269600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innkjøp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</a:t>
                      </a:r>
                      <a:r>
                        <a:rPr lang="nb-NO" sz="1400" b="1" i="0" u="none" strike="noStrike" noProof="0">
                          <a:latin typeface="Arial"/>
                        </a:rPr>
                        <a:t>opprette innkjøpsforespørsel, utføre vare-/tjenestemottak, og fakturabehandling</a:t>
                      </a:r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Spørsmål og svar</a:t>
                      </a:r>
                      <a:endParaRPr lang="nb-NO" sz="1400" b="0" i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30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829511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: avrundede hjørner 25">
            <a:extLst>
              <a:ext uri="{FF2B5EF4-FFF2-40B4-BE49-F238E27FC236}">
                <a16:creationId xmlns:a16="http://schemas.microsoft.com/office/drawing/2014/main" id="{2812D653-9479-0897-E4E5-A5E3A3216AEB}"/>
              </a:ext>
            </a:extLst>
          </p:cNvPr>
          <p:cNvSpPr/>
          <p:nvPr/>
        </p:nvSpPr>
        <p:spPr>
          <a:xfrm>
            <a:off x="99753" y="2068235"/>
            <a:ext cx="8770892" cy="303614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" name="Rektangel: avrundede hjørner 23">
            <a:extLst>
              <a:ext uri="{FF2B5EF4-FFF2-40B4-BE49-F238E27FC236}">
                <a16:creationId xmlns:a16="http://schemas.microsoft.com/office/drawing/2014/main" id="{EEB0FF60-57B3-B5B5-B437-7700A39DFF1D}"/>
              </a:ext>
            </a:extLst>
          </p:cNvPr>
          <p:cNvSpPr/>
          <p:nvPr/>
        </p:nvSpPr>
        <p:spPr>
          <a:xfrm>
            <a:off x="273354" y="938847"/>
            <a:ext cx="4109614" cy="8251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3F6D33D0-7225-C0F5-CB19-0841A85BE47C}"/>
              </a:ext>
            </a:extLst>
          </p:cNvPr>
          <p:cNvSpPr/>
          <p:nvPr/>
        </p:nvSpPr>
        <p:spPr>
          <a:xfrm>
            <a:off x="4517570" y="938847"/>
            <a:ext cx="4353075" cy="8251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4B70B-4CD1-438D-93D1-3AE839CA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4B70B-4CD1-438D-93D1-3AE839CA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6121E-CCC9-47B8-883C-1EB475ECD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969" y="39120"/>
            <a:ext cx="8381997" cy="646331"/>
          </a:xfrm>
        </p:spPr>
        <p:txBody>
          <a:bodyPr vert="horz"/>
          <a:lstStyle/>
          <a:p>
            <a:r>
              <a:rPr lang="nb-NO"/>
              <a:t>Kontaktpersoner </a:t>
            </a:r>
            <a:r>
              <a:rPr lang="nb-NO" err="1"/>
              <a:t>Btb</a:t>
            </a:r>
            <a:r>
              <a:rPr lang="nb-NO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530058-DF58-4DC2-B376-051632FBC83C}"/>
              </a:ext>
            </a:extLst>
          </p:cNvPr>
          <p:cNvSpPr txBox="1"/>
          <p:nvPr/>
        </p:nvSpPr>
        <p:spPr>
          <a:xfrm>
            <a:off x="4517570" y="673373"/>
            <a:ext cx="28498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TT </a:t>
            </a:r>
            <a:r>
              <a:rPr lang="nb-NO" sz="1100" b="1">
                <a:solidFill>
                  <a:srgbClr val="000000"/>
                </a:solidFill>
                <a:latin typeface="Arial" panose="020B0604020202020204"/>
              </a:rPr>
              <a:t>ØL innføringsprosjekt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11DD68-1936-47D3-BD18-D31D07349EDD}"/>
              </a:ext>
            </a:extLst>
          </p:cNvPr>
          <p:cNvSpPr txBox="1"/>
          <p:nvPr/>
        </p:nvSpPr>
        <p:spPr>
          <a:xfrm>
            <a:off x="273354" y="673373"/>
            <a:ext cx="2160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290180-82C2-4316-BA04-E7060D533275}"/>
              </a:ext>
            </a:extLst>
          </p:cNvPr>
          <p:cNvSpPr txBox="1"/>
          <p:nvPr/>
        </p:nvSpPr>
        <p:spPr>
          <a:xfrm>
            <a:off x="326573" y="1743886"/>
            <a:ext cx="26882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e:   </a:t>
            </a:r>
          </a:p>
        </p:txBody>
      </p:sp>
      <p:pic>
        <p:nvPicPr>
          <p:cNvPr id="10242" name="Picture 2" descr="profileimage">
            <a:extLst>
              <a:ext uri="{FF2B5EF4-FFF2-40B4-BE49-F238E27FC236}">
                <a16:creationId xmlns:a16="http://schemas.microsoft.com/office/drawing/2014/main" id="{D40C4EF8-CF72-4BD4-A932-DEDD39F6D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212" y="1003863"/>
            <a:ext cx="571394" cy="5713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4E5F2DA-533E-47B1-ADB4-920AEC27EEF1}"/>
              </a:ext>
            </a:extLst>
          </p:cNvPr>
          <p:cNvSpPr txBox="1"/>
          <p:nvPr/>
        </p:nvSpPr>
        <p:spPr>
          <a:xfrm>
            <a:off x="3065138" y="1003863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Overvik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B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F9002D-993A-4378-9128-AAE005858092}"/>
              </a:ext>
            </a:extLst>
          </p:cNvPr>
          <p:cNvSpPr txBox="1"/>
          <p:nvPr/>
        </p:nvSpPr>
        <p:spPr>
          <a:xfrm>
            <a:off x="5258407" y="1033992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y-Lene Johansen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prosjektleder P2 </a:t>
            </a:r>
          </a:p>
        </p:txBody>
      </p:sp>
      <p:pic>
        <p:nvPicPr>
          <p:cNvPr id="10244" name="Picture 4" descr="profileimage">
            <a:extLst>
              <a:ext uri="{FF2B5EF4-FFF2-40B4-BE49-F238E27FC236}">
                <a16:creationId xmlns:a16="http://schemas.microsoft.com/office/drawing/2014/main" id="{D9320971-8F30-4151-AFB2-27BEADA10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785" y="1048255"/>
            <a:ext cx="571394" cy="5713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8CF278-C86E-4535-B3F9-DF1C542E2A2F}"/>
              </a:ext>
            </a:extLst>
          </p:cNvPr>
          <p:cNvSpPr txBox="1"/>
          <p:nvPr/>
        </p:nvSpPr>
        <p:spPr>
          <a:xfrm>
            <a:off x="7402765" y="1016190"/>
            <a:ext cx="13806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ristina Horvei (Deloitte)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ressurs P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48" name="Picture 8" descr="profileimage">
            <a:extLst>
              <a:ext uri="{FF2B5EF4-FFF2-40B4-BE49-F238E27FC236}">
                <a16:creationId xmlns:a16="http://schemas.microsoft.com/office/drawing/2014/main" id="{C93419C7-EA02-4870-BF98-14C4F991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394" y="2295945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96EFC2A-38BE-4E7C-A558-F5F18D5A8A2C}"/>
              </a:ext>
            </a:extLst>
          </p:cNvPr>
          <p:cNvSpPr txBox="1"/>
          <p:nvPr/>
        </p:nvSpPr>
        <p:spPr>
          <a:xfrm>
            <a:off x="3083534" y="2340563"/>
            <a:ext cx="168088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nche Wilhelmsen Finseth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1744C0-F0DC-441B-BC79-B87E74D5D221}"/>
              </a:ext>
            </a:extLst>
          </p:cNvPr>
          <p:cNvSpPr txBox="1"/>
          <p:nvPr/>
        </p:nvSpPr>
        <p:spPr>
          <a:xfrm>
            <a:off x="7487836" y="2409812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ianne Storset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MH</a:t>
            </a:r>
          </a:p>
        </p:txBody>
      </p:sp>
      <p:pic>
        <p:nvPicPr>
          <p:cNvPr id="10250" name="Picture 10" descr="profileimage">
            <a:extLst>
              <a:ext uri="{FF2B5EF4-FFF2-40B4-BE49-F238E27FC236}">
                <a16:creationId xmlns:a16="http://schemas.microsoft.com/office/drawing/2014/main" id="{09AAC7DC-D167-474C-8656-BAA3A1450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896" y="2295945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73B5C00-B533-47B1-9A3F-3C016CFF4803}"/>
              </a:ext>
            </a:extLst>
          </p:cNvPr>
          <p:cNvSpPr txBox="1"/>
          <p:nvPr/>
        </p:nvSpPr>
        <p:spPr>
          <a:xfrm>
            <a:off x="978159" y="2271313"/>
            <a:ext cx="14667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Brevik Antonsen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Felles adm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C3425A-DD74-4EB1-9978-72B808175916}"/>
              </a:ext>
            </a:extLst>
          </p:cNvPr>
          <p:cNvSpPr txBox="1"/>
          <p:nvPr/>
        </p:nvSpPr>
        <p:spPr>
          <a:xfrm>
            <a:off x="5310477" y="2409812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ndi Leikvold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ØK</a:t>
            </a:r>
          </a:p>
        </p:txBody>
      </p:sp>
      <p:pic>
        <p:nvPicPr>
          <p:cNvPr id="10252" name="Picture 12" descr="profileimage">
            <a:extLst>
              <a:ext uri="{FF2B5EF4-FFF2-40B4-BE49-F238E27FC236}">
                <a16:creationId xmlns:a16="http://schemas.microsoft.com/office/drawing/2014/main" id="{8A16C6DA-003A-40DE-9D0B-FF396ED94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766" y="3680973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A993E49-D03F-4B0D-AD25-2240CF25C60A}"/>
              </a:ext>
            </a:extLst>
          </p:cNvPr>
          <p:cNvSpPr txBox="1"/>
          <p:nvPr/>
        </p:nvSpPr>
        <p:spPr>
          <a:xfrm>
            <a:off x="7487836" y="373051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a Gull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VM</a:t>
            </a:r>
          </a:p>
        </p:txBody>
      </p:sp>
      <p:pic>
        <p:nvPicPr>
          <p:cNvPr id="10254" name="Picture 14" descr="profileimage">
            <a:extLst>
              <a:ext uri="{FF2B5EF4-FFF2-40B4-BE49-F238E27FC236}">
                <a16:creationId xmlns:a16="http://schemas.microsoft.com/office/drawing/2014/main" id="{2BBD268E-29E7-4107-9289-9D9F5B666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407" y="2988134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C54433A-3E46-4EA5-A04A-C6D2BD078269}"/>
              </a:ext>
            </a:extLst>
          </p:cNvPr>
          <p:cNvSpPr txBox="1"/>
          <p:nvPr/>
        </p:nvSpPr>
        <p:spPr>
          <a:xfrm>
            <a:off x="5310477" y="3088242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cilie Heimda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HF</a:t>
            </a:r>
          </a:p>
        </p:txBody>
      </p:sp>
      <p:pic>
        <p:nvPicPr>
          <p:cNvPr id="10256" name="Picture 16" descr="profileimage">
            <a:extLst>
              <a:ext uri="{FF2B5EF4-FFF2-40B4-BE49-F238E27FC236}">
                <a16:creationId xmlns:a16="http://schemas.microsoft.com/office/drawing/2014/main" id="{25B79EF7-4FD9-4AC1-A0B4-1D06A8206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756" y="3680973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FEC821B-6892-41AC-9CFE-951B094BBDEC}"/>
              </a:ext>
            </a:extLst>
          </p:cNvPr>
          <p:cNvSpPr txBox="1"/>
          <p:nvPr/>
        </p:nvSpPr>
        <p:spPr>
          <a:xfrm>
            <a:off x="5310477" y="3730514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e-Grethe Nils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NV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60" name="Picture 20" descr="profileimage">
            <a:extLst>
              <a:ext uri="{FF2B5EF4-FFF2-40B4-BE49-F238E27FC236}">
                <a16:creationId xmlns:a16="http://schemas.microsoft.com/office/drawing/2014/main" id="{0EF70D19-F4ED-4524-A8AD-AEFAFD6F9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608" y="2295945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E4E4DEBF-BC79-4108-B28F-86CF32A8E368}"/>
              </a:ext>
            </a:extLst>
          </p:cNvPr>
          <p:cNvSpPr txBox="1"/>
          <p:nvPr/>
        </p:nvSpPr>
        <p:spPr>
          <a:xfrm>
            <a:off x="988838" y="1009469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en Ellingsberg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B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63C604E-77A8-46D0-AF24-EA0FA6B04909}"/>
              </a:ext>
            </a:extLst>
          </p:cNvPr>
          <p:cNvSpPr txBox="1"/>
          <p:nvPr/>
        </p:nvSpPr>
        <p:spPr>
          <a:xfrm>
            <a:off x="3083534" y="3088242"/>
            <a:ext cx="1742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lje Storsu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pic>
        <p:nvPicPr>
          <p:cNvPr id="10262" name="Picture 22" descr="profileimage">
            <a:extLst>
              <a:ext uri="{FF2B5EF4-FFF2-40B4-BE49-F238E27FC236}">
                <a16:creationId xmlns:a16="http://schemas.microsoft.com/office/drawing/2014/main" id="{66292979-2FD5-42C3-A040-CCCEB802A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67" y="1009469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B982FB-B70D-46F5-BC46-9B5CCF5779E2}"/>
              </a:ext>
            </a:extLst>
          </p:cNvPr>
          <p:cNvSpPr txBox="1"/>
          <p:nvPr/>
        </p:nvSpPr>
        <p:spPr>
          <a:xfrm>
            <a:off x="978159" y="373051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se Vibeke Belsvi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E</a:t>
            </a:r>
          </a:p>
        </p:txBody>
      </p:sp>
      <p:pic>
        <p:nvPicPr>
          <p:cNvPr id="10264" name="Picture 24" descr="profileimage">
            <a:extLst>
              <a:ext uri="{FF2B5EF4-FFF2-40B4-BE49-F238E27FC236}">
                <a16:creationId xmlns:a16="http://schemas.microsoft.com/office/drawing/2014/main" id="{B3FBB334-78F1-4C1C-9A8C-7D57517C2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766" y="2988134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ECFC784-016A-4F73-8486-F8E30E02B145}"/>
              </a:ext>
            </a:extLst>
          </p:cNvPr>
          <p:cNvSpPr txBox="1"/>
          <p:nvPr/>
        </p:nvSpPr>
        <p:spPr>
          <a:xfrm>
            <a:off x="7487836" y="3018993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d Marit Lervik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SU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fungerende)</a:t>
            </a:r>
          </a:p>
        </p:txBody>
      </p:sp>
      <p:pic>
        <p:nvPicPr>
          <p:cNvPr id="10266" name="Picture 26" descr="profileimage">
            <a:extLst>
              <a:ext uri="{FF2B5EF4-FFF2-40B4-BE49-F238E27FC236}">
                <a16:creationId xmlns:a16="http://schemas.microsoft.com/office/drawing/2014/main" id="{B9073208-E508-4B4B-A54C-EE2F786B4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394" y="2988134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C8A24DC-D8C1-4806-A264-29F759864BD0}"/>
              </a:ext>
            </a:extLst>
          </p:cNvPr>
          <p:cNvSpPr/>
          <p:nvPr/>
        </p:nvSpPr>
        <p:spPr>
          <a:xfrm>
            <a:off x="414896" y="3680973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55BD314-E573-4FE8-BFFE-F580DB83C9CB}"/>
              </a:ext>
            </a:extLst>
          </p:cNvPr>
          <p:cNvSpPr/>
          <p:nvPr/>
        </p:nvSpPr>
        <p:spPr>
          <a:xfrm>
            <a:off x="6862533" y="2295945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932574-B47A-4D5E-92F7-D18556BC197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8"/>
          <a:srcRect/>
          <a:stretch/>
        </p:blipFill>
        <p:spPr>
          <a:xfrm>
            <a:off x="6791379" y="1041628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4B883FB-F23F-B092-80EE-DE5325E882C1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3"/>
          <a:stretch/>
        </p:blipFill>
        <p:spPr>
          <a:xfrm>
            <a:off x="414896" y="2988134"/>
            <a:ext cx="576000" cy="6435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AA44F5EB-15DE-C133-1AB1-52E37BA3012C}"/>
              </a:ext>
            </a:extLst>
          </p:cNvPr>
          <p:cNvSpPr txBox="1"/>
          <p:nvPr/>
        </p:nvSpPr>
        <p:spPr>
          <a:xfrm>
            <a:off x="978159" y="3088242"/>
            <a:ext cx="1288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na Sundl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MH</a:t>
            </a:r>
          </a:p>
        </p:txBody>
      </p:sp>
      <p:sp>
        <p:nvSpPr>
          <p:cNvPr id="5" name="TextBox 29">
            <a:extLst>
              <a:ext uri="{FF2B5EF4-FFF2-40B4-BE49-F238E27FC236}">
                <a16:creationId xmlns:a16="http://schemas.microsoft.com/office/drawing/2014/main" id="{6B7B622E-8FCA-84CF-92DC-4AD9AAE75639}"/>
              </a:ext>
            </a:extLst>
          </p:cNvPr>
          <p:cNvSpPr txBox="1"/>
          <p:nvPr/>
        </p:nvSpPr>
        <p:spPr>
          <a:xfrm>
            <a:off x="3083534" y="439649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ana Bezdudn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AD</a:t>
            </a:r>
          </a:p>
        </p:txBody>
      </p:sp>
      <p:pic>
        <p:nvPicPr>
          <p:cNvPr id="6" name="Picture 18" descr="profileimage">
            <a:extLst>
              <a:ext uri="{FF2B5EF4-FFF2-40B4-BE49-F238E27FC236}">
                <a16:creationId xmlns:a16="http://schemas.microsoft.com/office/drawing/2014/main" id="{875564D1-21A5-E516-AC9F-BDC5B4F5E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394" y="4270386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3">
            <a:extLst>
              <a:ext uri="{FF2B5EF4-FFF2-40B4-BE49-F238E27FC236}">
                <a16:creationId xmlns:a16="http://schemas.microsoft.com/office/drawing/2014/main" id="{1B0321B2-C6D1-E2E9-7961-5E4196A37D9A}"/>
              </a:ext>
            </a:extLst>
          </p:cNvPr>
          <p:cNvSpPr/>
          <p:nvPr/>
        </p:nvSpPr>
        <p:spPr>
          <a:xfrm>
            <a:off x="2495394" y="3622783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35">
            <a:extLst>
              <a:ext uri="{FF2B5EF4-FFF2-40B4-BE49-F238E27FC236}">
                <a16:creationId xmlns:a16="http://schemas.microsoft.com/office/drawing/2014/main" id="{8DC4DAA2-7E65-EEF2-F073-49B70D715557}"/>
              </a:ext>
            </a:extLst>
          </p:cNvPr>
          <p:cNvSpPr txBox="1"/>
          <p:nvPr/>
        </p:nvSpPr>
        <p:spPr>
          <a:xfrm>
            <a:off x="3083534" y="373051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gard </a:t>
            </a:r>
            <a:r>
              <a:rPr kumimoji="0" lang="nb-NO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stavik</a:t>
            </a:r>
            <a:endParaRPr kumimoji="0" lang="nb-NO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pic>
        <p:nvPicPr>
          <p:cNvPr id="15" name="Plassholder for bilde 5" descr="Guri Schjølberg - innsida.ntnu.no">
            <a:extLst>
              <a:ext uri="{FF2B5EF4-FFF2-40B4-BE49-F238E27FC236}">
                <a16:creationId xmlns:a16="http://schemas.microsoft.com/office/drawing/2014/main" id="{383F6389-AD02-BC68-AD2C-47B5672D6752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/>
          <a:stretch>
            <a:fillRect/>
          </a:stretch>
        </p:blipFill>
        <p:spPr>
          <a:xfrm>
            <a:off x="405817" y="4320264"/>
            <a:ext cx="594159" cy="6246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xtBox 35">
            <a:extLst>
              <a:ext uri="{FF2B5EF4-FFF2-40B4-BE49-F238E27FC236}">
                <a16:creationId xmlns:a16="http://schemas.microsoft.com/office/drawing/2014/main" id="{F7428C77-6734-FB73-197E-38244BFB7977}"/>
              </a:ext>
            </a:extLst>
          </p:cNvPr>
          <p:cNvSpPr txBox="1"/>
          <p:nvPr/>
        </p:nvSpPr>
        <p:spPr>
          <a:xfrm>
            <a:off x="978159" y="439649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900" b="1">
                <a:solidFill>
                  <a:srgbClr val="000000"/>
                </a:solidFill>
                <a:latin typeface="Arial" panose="020B0604020202020204"/>
              </a:rPr>
              <a:t>Guri Schjølberg</a:t>
            </a:r>
            <a:endParaRPr kumimoji="0" lang="nb-NO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E</a:t>
            </a:r>
          </a:p>
        </p:txBody>
      </p:sp>
    </p:spTree>
    <p:extLst>
      <p:ext uri="{BB962C8B-B14F-4D97-AF65-F5344CB8AC3E}">
        <p14:creationId xmlns:p14="http://schemas.microsoft.com/office/powerpoint/2010/main" val="339475104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å til menti.co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de: 1901 1704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755EC8-3F9A-40C6-992B-5654BC16ED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68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755EC8-3F9A-40C6-992B-5654BC16E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8A1596-FDAC-4A10-8206-13DB956A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008" y="1700380"/>
            <a:ext cx="8229600" cy="2123658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pPr algn="ctr"/>
            <a:r>
              <a:rPr lang="nb-NO" sz="4400"/>
              <a:t>Takk for møtet </a:t>
            </a:r>
            <a:br>
              <a:rPr lang="nb-NO" sz="4400"/>
            </a:br>
            <a:r>
              <a:rPr lang="nb-NO" sz="4400"/>
              <a:t>og </a:t>
            </a:r>
            <a:br>
              <a:rPr lang="nb-NO" sz="4400"/>
            </a:br>
            <a:r>
              <a:rPr lang="nb-NO" sz="4400"/>
              <a:t>velkommen neste gang </a:t>
            </a:r>
            <a:r>
              <a:rPr lang="nb-NO" sz="4400">
                <a:sym typeface="Wingdings" panose="05000000000000000000" pitchFamily="2" charset="2"/>
              </a:rPr>
              <a:t></a:t>
            </a:r>
            <a:endParaRPr lang="nb-NO" sz="4400"/>
          </a:p>
        </p:txBody>
      </p:sp>
    </p:spTree>
    <p:extLst>
      <p:ext uri="{BB962C8B-B14F-4D97-AF65-F5344CB8AC3E}">
        <p14:creationId xmlns:p14="http://schemas.microsoft.com/office/powerpoint/2010/main" val="291984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å sørge for innkjøp av varer og tjenester til bruk i universitets virksomhet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rette innkjøpsforespørsel basert på innmeldt behov i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4 ERP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rette og vedlikeholder innkjøpsplaner (plankjøp)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ere varemottak i Unit4 ERP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handle inngående faktura og kreditnota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3909741"/>
            <a:ext cx="825739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 anbefales at innkjøpsforespørsler og inngående faktura er innkjøpers førsteprioritet. Innkjøper bør videre utøve sin rolle 50- 100 %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68226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</a:t>
            </a:r>
            <a:r>
              <a:rPr kumimoji="0" lang="nb-NO" sz="2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btb</a:t>
            </a: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-prosessen: Innkjøper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taler og de varer og tjenester som disse avtalene omfatter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å kunne opprette og behandle innkjøpsforespørsel i innkjøpsløsn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å kunne attestere inngående faktura og kreditnota i fakturaløsn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v og forskrift om offentlige anskaffelser (LOA og FOA) og Reglement for økonomistyring i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rksomhetens organiser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rksomhetens økonomimodell, herunder konteringsdimensjonen Mva.-behandling, Anleggsregistrering, Periodiser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v til innsend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betalinger der det ikke foreligger inngående faktura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v til innsending av elektronisk faktura og merking av inngående faktura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Se fullstendige beskrivelse av oppgaver i rollebeskrivelse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A2C03-CC7C-4A41-BE48-42E4CB6DEF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752" y="1915113"/>
            <a:ext cx="1306134" cy="138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150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966D1724-C4A2-40DE-98FC-E280262DC8F0}"/>
              </a:ext>
            </a:extLst>
          </p:cNvPr>
          <p:cNvSpPr/>
          <p:nvPr/>
        </p:nvSpPr>
        <p:spPr>
          <a:xfrm>
            <a:off x="1146625" y="665827"/>
            <a:ext cx="7597361" cy="139766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nb-NO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DFE037-44C5-48DE-AF59-F39F78894191}"/>
              </a:ext>
            </a:extLst>
          </p:cNvPr>
          <p:cNvSpPr txBox="1"/>
          <p:nvPr/>
        </p:nvSpPr>
        <p:spPr>
          <a:xfrm>
            <a:off x="3369977" y="2195651"/>
            <a:ext cx="31083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nb-NO" sz="1050" b="1">
                <a:solidFill>
                  <a:srgbClr val="32756D"/>
                </a:solidFill>
                <a:latin typeface="Calibri" panose="020F0502020204030204"/>
              </a:rPr>
              <a:t>Oppgaver knyttet til innkjøpere i en innkjøpergruppe: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DAAFE59-2463-47C7-8543-CC97D1D9AD8A}"/>
              </a:ext>
            </a:extLst>
          </p:cNvPr>
          <p:cNvGrpSpPr/>
          <p:nvPr/>
        </p:nvGrpSpPr>
        <p:grpSpPr>
          <a:xfrm>
            <a:off x="472426" y="665223"/>
            <a:ext cx="1348740" cy="1398270"/>
            <a:chOff x="568960" y="482600"/>
            <a:chExt cx="2580640" cy="2560320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0E9C70E-E870-4CB5-A628-1C61236FF823}"/>
                </a:ext>
              </a:extLst>
            </p:cNvPr>
            <p:cNvSpPr/>
            <p:nvPr/>
          </p:nvSpPr>
          <p:spPr>
            <a:xfrm>
              <a:off x="568960" y="482600"/>
              <a:ext cx="2580640" cy="256032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nb-NO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7EFA3C5-7333-4324-A110-F45E7B418386}"/>
                </a:ext>
              </a:extLst>
            </p:cNvPr>
            <p:cNvSpPr/>
            <p:nvPr/>
          </p:nvSpPr>
          <p:spPr>
            <a:xfrm>
              <a:off x="955040" y="909319"/>
              <a:ext cx="894266" cy="9335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nb-NO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4DE5EA9-305E-4893-B90E-B904DE58FD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2297" y="976792"/>
              <a:ext cx="659751" cy="699735"/>
            </a:xfrm>
            <a:prstGeom prst="rect">
              <a:avLst/>
            </a:prstGeom>
          </p:spPr>
        </p:pic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A1CF55B-5B49-4E6A-BC7C-44EB358E3AC2}"/>
                </a:ext>
              </a:extLst>
            </p:cNvPr>
            <p:cNvSpPr/>
            <p:nvPr/>
          </p:nvSpPr>
          <p:spPr>
            <a:xfrm>
              <a:off x="2002103" y="1152937"/>
              <a:ext cx="894266" cy="9335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nb-NO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CF4C9A1-C4CF-4E03-AE45-020A5FD2D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19360" y="1220410"/>
              <a:ext cx="659751" cy="699735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2959B4C-6DAF-4086-B3F3-8E8AF03CAC0E}"/>
                </a:ext>
              </a:extLst>
            </p:cNvPr>
            <p:cNvSpPr/>
            <p:nvPr/>
          </p:nvSpPr>
          <p:spPr>
            <a:xfrm>
              <a:off x="1233599" y="1920145"/>
              <a:ext cx="894266" cy="9335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nb-NO" sz="135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6D9F1B4D-9C82-4A96-9102-19FBE68E8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50856" y="1987618"/>
              <a:ext cx="659751" cy="699735"/>
            </a:xfrm>
            <a:prstGeom prst="rect">
              <a:avLst/>
            </a:prstGeom>
          </p:spPr>
        </p:pic>
      </p:grpSp>
      <p:sp>
        <p:nvSpPr>
          <p:cNvPr id="29" name="Google Shape;557;p97">
            <a:extLst>
              <a:ext uri="{FF2B5EF4-FFF2-40B4-BE49-F238E27FC236}">
                <a16:creationId xmlns:a16="http://schemas.microsoft.com/office/drawing/2014/main" id="{82D3B67E-76A4-4022-AA51-2B66EBFCA949}"/>
              </a:ext>
            </a:extLst>
          </p:cNvPr>
          <p:cNvSpPr txBox="1">
            <a:spLocks/>
          </p:cNvSpPr>
          <p:nvPr/>
        </p:nvSpPr>
        <p:spPr>
          <a:xfrm>
            <a:off x="541383" y="36393"/>
            <a:ext cx="6348600" cy="51677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68575" tIns="34275" rIns="68575" bIns="34275" rtlCol="0" anchor="b" anchorCtr="0">
            <a:noAutofit/>
          </a:bodyPr>
          <a:lstStyle>
            <a:lvl1pPr lvl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pPr algn="l" defTabSz="685800">
              <a:buSzPts val="4100"/>
            </a:pPr>
            <a:r>
              <a:rPr lang="nb-NO" sz="1800" b="1">
                <a:solidFill>
                  <a:prstClr val="black"/>
                </a:solidFill>
                <a:latin typeface="Poppins"/>
                <a:ea typeface="Poppins"/>
                <a:cs typeface="Poppins"/>
                <a:sym typeface="Poppins"/>
              </a:rPr>
              <a:t>Innkjøpergruppe</a:t>
            </a:r>
            <a:endParaRPr lang="nb-NO" sz="1800" b="1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49179BA-7FF6-4593-A258-274CBF8423A1}"/>
              </a:ext>
            </a:extLst>
          </p:cNvPr>
          <p:cNvSpPr txBox="1"/>
          <p:nvPr/>
        </p:nvSpPr>
        <p:spPr>
          <a:xfrm>
            <a:off x="1891204" y="876581"/>
            <a:ext cx="66816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nb-NO" sz="900">
                <a:solidFill>
                  <a:prstClr val="black"/>
                </a:solidFill>
                <a:latin typeface="Calibri" panose="020F0502020204030204"/>
              </a:rPr>
              <a:t>En innkjøpergruppe består av to eller flere innkjøpere som har tilgang til å gjøre innkjøp, utføre varemottak og attestere fakturaer på ett eller flere koststeder. En innkjøper kan være deltaker i flere innkjøpergrupper og hver innkjøpergruppe består av ett eller flere spenn av koststeder. </a:t>
            </a:r>
          </a:p>
          <a:p>
            <a:pPr defTabSz="685800"/>
            <a:endParaRPr lang="nb-NO" sz="900">
              <a:solidFill>
                <a:prstClr val="black"/>
              </a:solidFill>
              <a:latin typeface="Calibri" panose="020F0502020204030204"/>
            </a:endParaRPr>
          </a:p>
          <a:p>
            <a:pPr defTabSz="685800"/>
            <a:r>
              <a:rPr lang="nb-NO" sz="900">
                <a:solidFill>
                  <a:prstClr val="black"/>
                </a:solidFill>
                <a:latin typeface="Calibri" panose="020F0502020204030204"/>
              </a:rPr>
              <a:t>Hvilke koststeder (f.eks. ett eller flere fakulteter) som legges til en innkjøpergruppe kan variere ut i fra størrelsen ved enhetene og behov for å bygge kompetansemiljøer. Det betyr at det i noen tilfeller kan være fornuftig at én innkjøpergruppe kan behandle alt av innkjøpsforespørsler og fakturaer for mange koststeder, mens det i andre tilfeller kan være hensiktsmessig med egne innkjøpergrupper for et begrenset spenn av koststeder.</a:t>
            </a:r>
          </a:p>
        </p:txBody>
      </p:sp>
      <p:grpSp>
        <p:nvGrpSpPr>
          <p:cNvPr id="34" name="Group 331">
            <a:extLst>
              <a:ext uri="{FF2B5EF4-FFF2-40B4-BE49-F238E27FC236}">
                <a16:creationId xmlns:a16="http://schemas.microsoft.com/office/drawing/2014/main" id="{0C475F24-68FF-4099-A57F-79899D8928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3539" y="2564519"/>
            <a:ext cx="366197" cy="366197"/>
            <a:chOff x="3832" y="1197"/>
            <a:chExt cx="340" cy="340"/>
          </a:xfrm>
          <a:solidFill>
            <a:schemeClr val="accent6"/>
          </a:solidFill>
        </p:grpSpPr>
        <p:sp>
          <p:nvSpPr>
            <p:cNvPr id="35" name="Freeform 332">
              <a:extLst>
                <a:ext uri="{FF2B5EF4-FFF2-40B4-BE49-F238E27FC236}">
                  <a16:creationId xmlns:a16="http://schemas.microsoft.com/office/drawing/2014/main" id="{E3D9C467-D1FF-43AF-92D2-414F908CE0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47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 333">
              <a:extLst>
                <a:ext uri="{FF2B5EF4-FFF2-40B4-BE49-F238E27FC236}">
                  <a16:creationId xmlns:a16="http://schemas.microsoft.com/office/drawing/2014/main" id="{34EBC9A6-D39A-428F-B7A5-0308CE4396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47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259974D3-5E89-410A-AD2C-598FAF9CF3DC}"/>
              </a:ext>
            </a:extLst>
          </p:cNvPr>
          <p:cNvSpPr/>
          <p:nvPr/>
        </p:nvSpPr>
        <p:spPr>
          <a:xfrm>
            <a:off x="5246533" y="2552896"/>
            <a:ext cx="3524087" cy="577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nb-NO" sz="788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år det kommer en innkjøpsfaktura eller leverandørfaktura som trenger attestasjon, så går den til innkjøpergruppen som er knyttet til henholdsvis innkjøpsordrenummerets koststed(er) eller koststedet oppgitt som fakturareferanse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35B56C3-E72C-4675-8C81-7D3E7872C315}"/>
              </a:ext>
            </a:extLst>
          </p:cNvPr>
          <p:cNvSpPr/>
          <p:nvPr/>
        </p:nvSpPr>
        <p:spPr>
          <a:xfrm>
            <a:off x="994573" y="2552896"/>
            <a:ext cx="3577427" cy="456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nb-NO" sz="788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år en fagrekvirent oppretter en innkjøpsforespørsel sendes det en oppgave til innkjøperne i innkjøpergruppen som er knyttet til koststedene fagrekvirenten konterte på</a:t>
            </a:r>
            <a:endParaRPr lang="nb-NO" sz="788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639583E-8997-4CCE-94CC-32F4FD5C7779}"/>
              </a:ext>
            </a:extLst>
          </p:cNvPr>
          <p:cNvSpPr/>
          <p:nvPr/>
        </p:nvSpPr>
        <p:spPr>
          <a:xfrm>
            <a:off x="994572" y="3208295"/>
            <a:ext cx="3355891" cy="456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nb-NO" sz="788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år en </a:t>
            </a:r>
            <a:r>
              <a:rPr lang="nb-NO" sz="788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kostnadsgodkjenner</a:t>
            </a:r>
            <a:r>
              <a:rPr lang="nb-NO" sz="788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avviser en innkjøpsforespørsel, går innkjøpsforespørselen tilbake til innkjøperne i innkjøpergruppen som er knyttet til koststedet innkjøpsforespørsel er kontert på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5190D66-41AA-407F-9544-AFEEBB1EEAE0}"/>
              </a:ext>
            </a:extLst>
          </p:cNvPr>
          <p:cNvSpPr/>
          <p:nvPr/>
        </p:nvSpPr>
        <p:spPr>
          <a:xfrm>
            <a:off x="5246533" y="3247934"/>
            <a:ext cx="3524087" cy="456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nb-NO" sz="788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år en </a:t>
            </a:r>
            <a:r>
              <a:rPr lang="nb-NO" sz="788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kostnadsgodkjenner</a:t>
            </a:r>
            <a:r>
              <a:rPr lang="nb-NO" sz="788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avviser en faktura, går fakturaen tilbake til innkjøperne i innkjøpergruppen som er knyttet til koststedet fakturaen er kontert på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604517DD-42E9-4A16-9722-C7C135FAD652}"/>
              </a:ext>
            </a:extLst>
          </p:cNvPr>
          <p:cNvSpPr/>
          <p:nvPr/>
        </p:nvSpPr>
        <p:spPr>
          <a:xfrm>
            <a:off x="541383" y="4036875"/>
            <a:ext cx="8229237" cy="6807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nb-NO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4AB0224-3A02-479B-956F-F89C567F3015}"/>
              </a:ext>
            </a:extLst>
          </p:cNvPr>
          <p:cNvSpPr/>
          <p:nvPr/>
        </p:nvSpPr>
        <p:spPr>
          <a:xfrm>
            <a:off x="735490" y="3905039"/>
            <a:ext cx="3355891" cy="2959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nb-NO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23B01A1-D608-4B72-9FA5-701CF95FBB01}"/>
              </a:ext>
            </a:extLst>
          </p:cNvPr>
          <p:cNvSpPr txBox="1"/>
          <p:nvPr/>
        </p:nvSpPr>
        <p:spPr>
          <a:xfrm>
            <a:off x="819791" y="3942536"/>
            <a:ext cx="3379310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nb-NO" sz="825" b="1">
                <a:solidFill>
                  <a:prstClr val="black"/>
                </a:solidFill>
                <a:latin typeface="Calibri" panose="020F0502020204030204"/>
              </a:rPr>
              <a:t>Vurderingsfaktorer ved valg av koststeder for innkjøpergruppe*: </a:t>
            </a:r>
            <a:endParaRPr lang="nb-NO" sz="825" b="1">
              <a:solidFill>
                <a:prstClr val="black"/>
              </a:solidFill>
              <a:highlight>
                <a:srgbClr val="FFFF00"/>
              </a:highlight>
              <a:latin typeface="Calibri" panose="020F0502020204030204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5E8D458-AF12-49CC-A395-14DF179AB840}"/>
              </a:ext>
            </a:extLst>
          </p:cNvPr>
          <p:cNvSpPr txBox="1"/>
          <p:nvPr/>
        </p:nvSpPr>
        <p:spPr>
          <a:xfrm>
            <a:off x="735489" y="4228122"/>
            <a:ext cx="1888168" cy="334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nb-NO" sz="788">
                <a:solidFill>
                  <a:prstClr val="black"/>
                </a:solidFill>
                <a:latin typeface="Calibri" panose="020F0502020204030204"/>
              </a:rPr>
              <a:t>Sikre at innkjøper tilhører et fagmiljø / kompetansemilj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39EB986-E318-4A6A-9514-453991C533CB}"/>
              </a:ext>
            </a:extLst>
          </p:cNvPr>
          <p:cNvSpPr txBox="1"/>
          <p:nvPr/>
        </p:nvSpPr>
        <p:spPr>
          <a:xfrm>
            <a:off x="2790071" y="4215988"/>
            <a:ext cx="1702053" cy="456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nb-NO" sz="788">
                <a:solidFill>
                  <a:prstClr val="black"/>
                </a:solidFill>
                <a:latin typeface="Calibri" panose="020F0502020204030204"/>
              </a:rPr>
              <a:t>Totalt innkjøps- og fakturavolum innenfor koststed (er)  </a:t>
            </a:r>
          </a:p>
        </p:txBody>
      </p:sp>
      <p:grpSp>
        <p:nvGrpSpPr>
          <p:cNvPr id="30" name="Group 331">
            <a:extLst>
              <a:ext uri="{FF2B5EF4-FFF2-40B4-BE49-F238E27FC236}">
                <a16:creationId xmlns:a16="http://schemas.microsoft.com/office/drawing/2014/main" id="{B492B3C6-E46C-4544-B4CB-776111F7FC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2391" y="2564518"/>
            <a:ext cx="366197" cy="366197"/>
            <a:chOff x="3832" y="1197"/>
            <a:chExt cx="340" cy="340"/>
          </a:xfrm>
          <a:solidFill>
            <a:schemeClr val="accent6"/>
          </a:solidFill>
        </p:grpSpPr>
        <p:sp>
          <p:nvSpPr>
            <p:cNvPr id="32" name="Freeform 332">
              <a:extLst>
                <a:ext uri="{FF2B5EF4-FFF2-40B4-BE49-F238E27FC236}">
                  <a16:creationId xmlns:a16="http://schemas.microsoft.com/office/drawing/2014/main" id="{FBC951C7-E92F-49B7-AD09-9F81BCDDAB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47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 333">
              <a:extLst>
                <a:ext uri="{FF2B5EF4-FFF2-40B4-BE49-F238E27FC236}">
                  <a16:creationId xmlns:a16="http://schemas.microsoft.com/office/drawing/2014/main" id="{0F3F1584-2D00-4D7A-A9DF-D3306A4266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47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49" name="Group 331">
            <a:extLst>
              <a:ext uri="{FF2B5EF4-FFF2-40B4-BE49-F238E27FC236}">
                <a16:creationId xmlns:a16="http://schemas.microsoft.com/office/drawing/2014/main" id="{3692A7CA-BBDD-4C48-914E-3D245BF403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1196" y="3215416"/>
            <a:ext cx="366197" cy="366197"/>
            <a:chOff x="3832" y="1197"/>
            <a:chExt cx="340" cy="340"/>
          </a:xfrm>
          <a:solidFill>
            <a:schemeClr val="accent6"/>
          </a:solidFill>
        </p:grpSpPr>
        <p:sp>
          <p:nvSpPr>
            <p:cNvPr id="51" name="Freeform 332">
              <a:extLst>
                <a:ext uri="{FF2B5EF4-FFF2-40B4-BE49-F238E27FC236}">
                  <a16:creationId xmlns:a16="http://schemas.microsoft.com/office/drawing/2014/main" id="{02393EAF-0E74-4100-B4A6-EAE4B832B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47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 333">
              <a:extLst>
                <a:ext uri="{FF2B5EF4-FFF2-40B4-BE49-F238E27FC236}">
                  <a16:creationId xmlns:a16="http://schemas.microsoft.com/office/drawing/2014/main" id="{4482F505-6465-481E-AFC6-F6118004C3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47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53" name="Group 331">
            <a:extLst>
              <a:ext uri="{FF2B5EF4-FFF2-40B4-BE49-F238E27FC236}">
                <a16:creationId xmlns:a16="http://schemas.microsoft.com/office/drawing/2014/main" id="{820D57CB-3710-415B-8A45-AE22B4A56E9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94865" y="3215416"/>
            <a:ext cx="366197" cy="366197"/>
            <a:chOff x="3832" y="1197"/>
            <a:chExt cx="340" cy="340"/>
          </a:xfrm>
          <a:solidFill>
            <a:schemeClr val="accent6"/>
          </a:solidFill>
        </p:grpSpPr>
        <p:sp>
          <p:nvSpPr>
            <p:cNvPr id="54" name="Freeform 332">
              <a:extLst>
                <a:ext uri="{FF2B5EF4-FFF2-40B4-BE49-F238E27FC236}">
                  <a16:creationId xmlns:a16="http://schemas.microsoft.com/office/drawing/2014/main" id="{1A7E96E2-8769-4E82-8CC8-FE098BD715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47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 333">
              <a:extLst>
                <a:ext uri="{FF2B5EF4-FFF2-40B4-BE49-F238E27FC236}">
                  <a16:creationId xmlns:a16="http://schemas.microsoft.com/office/drawing/2014/main" id="{EFE1FFA1-BA1D-4CBF-A1AA-75FAC23FDE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47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2B34DB7-2A75-463E-937A-FDEB550CC385}"/>
              </a:ext>
            </a:extLst>
          </p:cNvPr>
          <p:cNvSpPr txBox="1"/>
          <p:nvPr/>
        </p:nvSpPr>
        <p:spPr>
          <a:xfrm>
            <a:off x="753085" y="4757276"/>
            <a:ext cx="7725569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nb-NO" sz="675">
                <a:solidFill>
                  <a:prstClr val="black"/>
                </a:solidFill>
                <a:latin typeface="Calibri" panose="020F0502020204030204"/>
              </a:rPr>
              <a:t>*Anskaffelsesområder med behov for særskilt (eller inngående) produktkunnskap, håndteres gjennom rollen fagrekvirent.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5DD60F-87FF-4F9D-B941-0762DD2F37E6}"/>
              </a:ext>
            </a:extLst>
          </p:cNvPr>
          <p:cNvSpPr/>
          <p:nvPr/>
        </p:nvSpPr>
        <p:spPr>
          <a:xfrm>
            <a:off x="6769811" y="4228122"/>
            <a:ext cx="1803045" cy="334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nb-NO" sz="788">
                <a:solidFill>
                  <a:prstClr val="black"/>
                </a:solidFill>
                <a:latin typeface="Calibri" panose="020F0502020204030204"/>
              </a:rPr>
              <a:t>Valgt stillingsprosent for innkjøperrolle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A66D5C2-43B6-4EF0-9165-D1763D2AECAD}"/>
              </a:ext>
            </a:extLst>
          </p:cNvPr>
          <p:cNvSpPr txBox="1"/>
          <p:nvPr/>
        </p:nvSpPr>
        <p:spPr>
          <a:xfrm>
            <a:off x="8299338" y="4755144"/>
            <a:ext cx="54703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nb-NO" sz="675">
                <a:solidFill>
                  <a:prstClr val="black"/>
                </a:solidFill>
                <a:latin typeface="Calibri" panose="020F0502020204030204"/>
              </a:rPr>
              <a:t>24.02.2021.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FEAD4F2-F32C-43A8-A99E-0972DA5C2AD6}"/>
              </a:ext>
            </a:extLst>
          </p:cNvPr>
          <p:cNvSpPr txBox="1"/>
          <p:nvPr/>
        </p:nvSpPr>
        <p:spPr>
          <a:xfrm>
            <a:off x="4658537" y="4215987"/>
            <a:ext cx="1944860" cy="456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nb-NO" sz="788">
                <a:solidFill>
                  <a:prstClr val="black"/>
                </a:solidFill>
                <a:latin typeface="Calibri" panose="020F0502020204030204"/>
              </a:rPr>
              <a:t>Sikre at innkjøpergruppe består av en viss størrelse (antall innkjøper) for å redusere sårbarhet ved fravær</a:t>
            </a:r>
          </a:p>
        </p:txBody>
      </p:sp>
    </p:spTree>
    <p:extLst>
      <p:ext uri="{BB962C8B-B14F-4D97-AF65-F5344CB8AC3E}">
        <p14:creationId xmlns:p14="http://schemas.microsoft.com/office/powerpoint/2010/main" val="4078361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</a:t>
            </a:r>
            <a:r>
              <a:rPr lang="nb-NO" sz="2400" err="1"/>
              <a:t>BtB</a:t>
            </a:r>
            <a:r>
              <a:rPr lang="nb-NO" sz="2400"/>
              <a:t>-prosessen: Samhandling mellom roll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1FC7A2-4747-4E7B-8B61-B8F1E4100C9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805" r="539" b="1270"/>
          <a:stretch/>
        </p:blipFill>
        <p:spPr>
          <a:xfrm>
            <a:off x="537471" y="1019101"/>
            <a:ext cx="7727029" cy="3629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48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369420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Hovedforskjeller fra dagens løsning</a:t>
                      </a:r>
                      <a:endParaRPr lang="nb-NO" sz="1400" b="0" i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innkjøp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</a:t>
                      </a:r>
                      <a:r>
                        <a:rPr lang="nb-NO" sz="1400" b="1" i="0" u="none" strike="noStrike" noProof="0">
                          <a:latin typeface="Arial"/>
                        </a:rPr>
                        <a:t>opprette innkjøpsforespørsel, utføre vare-/tjenestemottak, og fakturabehandling</a:t>
                      </a:r>
                      <a:endParaRPr lang="nb-NO" sz="1400" b="1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 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6047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10OI5SJHHB2amnjHY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10OI5SJHHB2amnjHY1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LTQg.TnfvLExlx2M0I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orvei\AppData\Local\Temp\Templafy\PowerPointVsto\Assets\chorvei.jp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3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4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6.xml><?xml version="1.0" encoding="utf-8"?>
<a:theme xmlns:a="http://schemas.openxmlformats.org/drawingml/2006/main" name="5_Office Theme">
  <a:themeElements>
    <a:clrScheme name="Custom 2">
      <a:dk1>
        <a:sysClr val="windowText" lastClr="000000"/>
      </a:dk1>
      <a:lt1>
        <a:sysClr val="window" lastClr="FFFFFF"/>
      </a:lt1>
      <a:dk2>
        <a:srgbClr val="32756D"/>
      </a:dk2>
      <a:lt2>
        <a:srgbClr val="EEF2F5"/>
      </a:lt2>
      <a:accent1>
        <a:srgbClr val="32756D"/>
      </a:accent1>
      <a:accent2>
        <a:srgbClr val="9EC5AB"/>
      </a:accent2>
      <a:accent3>
        <a:srgbClr val="A5A5A5"/>
      </a:accent3>
      <a:accent4>
        <a:srgbClr val="BCCCA8"/>
      </a:accent4>
      <a:accent5>
        <a:srgbClr val="9A00B7"/>
      </a:accent5>
      <a:accent6>
        <a:srgbClr val="32756D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l_BOTTpresentasjon.pptx" id="{AF0E60BD-BFDB-41EB-8652-12729C8F38C0}" vid="{5969467D-88D6-436A-8AAB-6CFF44F783FE}"/>
    </a:ext>
  </a:extLst>
</a:theme>
</file>

<file path=ppt/theme/theme7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32756D"/>
      </a:dk2>
      <a:lt2>
        <a:srgbClr val="EEF2F5"/>
      </a:lt2>
      <a:accent1>
        <a:srgbClr val="32756D"/>
      </a:accent1>
      <a:accent2>
        <a:srgbClr val="9EC5AB"/>
      </a:accent2>
      <a:accent3>
        <a:srgbClr val="A5A5A5"/>
      </a:accent3>
      <a:accent4>
        <a:srgbClr val="BCCCA8"/>
      </a:accent4>
      <a:accent5>
        <a:srgbClr val="9A00B7"/>
      </a:accent5>
      <a:accent6>
        <a:srgbClr val="32756D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l_BOTTpresentasjon.pptx" id="{AF0E60BD-BFDB-41EB-8652-12729C8F38C0}" vid="{5969467D-88D6-436A-8AAB-6CFF44F783FE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TemplafySlideFormConfiguration><![CDATA[{"formFields":[],"formDataEntries":[]}]]></TemplafySlideFormConfiguration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7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729DADC4-E941-4143-BEF5-04732A0465D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0F7F9CD-48EC-495E-8331-35A94440FF7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13B9220-694F-4FA8-9552-2F59D8596BC2}">
  <ds:schemaRefs/>
</ds:datastoreItem>
</file>

<file path=customXml/itemProps4.xml><?xml version="1.0" encoding="utf-8"?>
<ds:datastoreItem xmlns:ds="http://schemas.openxmlformats.org/officeDocument/2006/customXml" ds:itemID="{74342386-CCEB-4B03-80C6-C64950812FD5}">
  <ds:schemaRefs>
    <ds:schemaRef ds:uri="92f31348-0739-4467-8087-a9e650b26e6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a015d52-1a8c-45a9-b108-712092158594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B9CE0B93-D6CB-469D-A0AA-3C983EA3ED05}">
  <ds:schemaRefs/>
</ds:datastoreItem>
</file>

<file path=customXml/itemProps6.xml><?xml version="1.0" encoding="utf-8"?>
<ds:datastoreItem xmlns:ds="http://schemas.openxmlformats.org/officeDocument/2006/customXml" ds:itemID="{9DC76CE3-B835-446A-A520-10DB5B6EF169}">
  <ds:schemaRefs/>
</ds:datastoreItem>
</file>

<file path=customXml/itemProps7.xml><?xml version="1.0" encoding="utf-8"?>
<ds:datastoreItem xmlns:ds="http://schemas.openxmlformats.org/officeDocument/2006/customXml" ds:itemID="{387519D4-11B9-441D-B88A-840D71859FC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99</Words>
  <Application>Microsoft Office PowerPoint</Application>
  <PresentationFormat>On-screen Show (16:9)</PresentationFormat>
  <Paragraphs>756</Paragraphs>
  <Slides>53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8" baseType="lpstr">
      <vt:lpstr>Arial</vt:lpstr>
      <vt:lpstr>Calibri</vt:lpstr>
      <vt:lpstr>Calibri Light</vt:lpstr>
      <vt:lpstr>Lato Extended</vt:lpstr>
      <vt:lpstr>myriad-pro</vt:lpstr>
      <vt:lpstr>Open Sans</vt:lpstr>
      <vt:lpstr>Poppins</vt:lpstr>
      <vt:lpstr>Office-tema</vt:lpstr>
      <vt:lpstr>4_Office-tema</vt:lpstr>
      <vt:lpstr>1_Office-tema</vt:lpstr>
      <vt:lpstr>2_Office-tema</vt:lpstr>
      <vt:lpstr>3_Office-tema</vt:lpstr>
      <vt:lpstr>5_Office Theme</vt:lpstr>
      <vt:lpstr>2_Office Theme</vt:lpstr>
      <vt:lpstr>think-cell Slide</vt:lpstr>
      <vt:lpstr>NTNU Kurs 2 - Behov til betaling Innkjøper</vt:lpstr>
      <vt:lpstr>PowerPoint Presentation</vt:lpstr>
      <vt:lpstr>Agenda</vt:lpstr>
      <vt:lpstr>Læringsmål</vt:lpstr>
      <vt:lpstr>PowerPoint Presentation</vt:lpstr>
      <vt:lpstr>PowerPoint Presentation</vt:lpstr>
      <vt:lpstr>PowerPoint Presentation</vt:lpstr>
      <vt:lpstr>Intro til BtB-prosessen: Samhandling mellom roller</vt:lpstr>
      <vt:lpstr>Agenda</vt:lpstr>
      <vt:lpstr>Hovedforskjeller: Registrere innkjøpsforespørsel</vt:lpstr>
      <vt:lpstr>Hovedforskjeller: Utføre vare-/tjenestemottak </vt:lpstr>
      <vt:lpstr>Hovedforskjeller: Behandle inngående faktura</vt:lpstr>
      <vt:lpstr>Agenda</vt:lpstr>
      <vt:lpstr>BOTT økonomimodell</vt:lpstr>
      <vt:lpstr>Læringsmål</vt:lpstr>
      <vt:lpstr>Endringer sammenlignet med dagens økonomimodell</vt:lpstr>
      <vt:lpstr>Konteringsstrengen</vt:lpstr>
      <vt:lpstr>Kontering konto</vt:lpstr>
      <vt:lpstr>Kontering koststed</vt:lpstr>
      <vt:lpstr>Kontering delprosjekt</vt:lpstr>
      <vt:lpstr>Kontobruk</vt:lpstr>
      <vt:lpstr>Anlegg under utførelse – bygg</vt:lpstr>
      <vt:lpstr>PowerPoint Presentation</vt:lpstr>
      <vt:lpstr>Agenda</vt:lpstr>
      <vt:lpstr> Registrering av mva på innkjøpsforespørsel</vt:lpstr>
      <vt:lpstr>Registrering av mva kode</vt:lpstr>
      <vt:lpstr>Mva - koder i Unit4</vt:lpstr>
      <vt:lpstr>Mva – koder i Unit4</vt:lpstr>
      <vt:lpstr>Beslutnings-tre kjøp i Norge</vt:lpstr>
      <vt:lpstr>Eksempel på mva-koder til norske leverandører med og uten innkjøpsordre</vt:lpstr>
      <vt:lpstr>Mva - koder i Unit4 </vt:lpstr>
      <vt:lpstr>Mva - koder i Unit4</vt:lpstr>
      <vt:lpstr>Beslutningstre kjøp fra utlandet</vt:lpstr>
      <vt:lpstr>Eksempel på mva-koder til utenlandske leverandører </vt:lpstr>
      <vt:lpstr>Kjøp fra utenlandske leverandører som leveres i Norge</vt:lpstr>
      <vt:lpstr>Agenda</vt:lpstr>
      <vt:lpstr>Begreper </vt:lpstr>
      <vt:lpstr>Begreper forts. </vt:lpstr>
      <vt:lpstr>Agenda</vt:lpstr>
      <vt:lpstr>Registrere innkjøpsforespørsel - Demo</vt:lpstr>
      <vt:lpstr>Gjøre vare- / tjenestemottak - Video</vt:lpstr>
      <vt:lpstr>Behandle inngående faktura </vt:lpstr>
      <vt:lpstr>Agenda</vt:lpstr>
      <vt:lpstr>Viktig</vt:lpstr>
      <vt:lpstr>Videre opplæring – Innkjøper</vt:lpstr>
      <vt:lpstr>PowerPoint Presentation</vt:lpstr>
      <vt:lpstr>Brukerstøtte</vt:lpstr>
      <vt:lpstr>Kontaktpunkt - opplæring</vt:lpstr>
      <vt:lpstr>Hvor kan du finne mer informasjon</vt:lpstr>
      <vt:lpstr>Agenda</vt:lpstr>
      <vt:lpstr>Kontaktpersoner Btb </vt:lpstr>
      <vt:lpstr>Spørsmål og svar</vt:lpstr>
      <vt:lpstr>Takk for møtet  og  velkommen neste gang 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olbjørn Skarpnes</dc:creator>
  <cp:lastModifiedBy>Ingvild Oxaas Wie</cp:lastModifiedBy>
  <cp:revision>2</cp:revision>
  <dcterms:created xsi:type="dcterms:W3CDTF">2013-06-10T16:56:09Z</dcterms:created>
  <dcterms:modified xsi:type="dcterms:W3CDTF">2022-12-05T13:1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SiteId">
    <vt:lpwstr>36da45f1-dd2c-4d1f-af13-5abe46b99921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etDate">
    <vt:lpwstr>2022-01-14T09:32:21Z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a60d57e-af5b-4752-ac57-3e4f28ca11dc_ActionId">
    <vt:lpwstr>4347e919-3a21-4c8e-80f7-010369338443</vt:lpwstr>
  </property>
  <property fmtid="{D5CDD505-2E9C-101B-9397-08002B2CF9AE}" pid="10" name="MediaServiceImageTags">
    <vt:lpwstr/>
  </property>
</Properties>
</file>